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2.xml" ContentType="application/vnd.openxmlformats-officedocument.theme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heme/themeOverride1.xml" ContentType="application/vnd.openxmlformats-officedocument.themeOverrid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heme/themeOverride2.xml" ContentType="application/vnd.openxmlformats-officedocument.themeOverr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heme/themeOverride3.xml" ContentType="application/vnd.openxmlformats-officedocument.themeOverr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heme/themeOverride4.xml" ContentType="application/vnd.openxmlformats-officedocument.themeOverr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heme/themeOverride5.xml" ContentType="application/vnd.openxmlformats-officedocument.themeOverrid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heme/themeOverride6.xml" ContentType="application/vnd.openxmlformats-officedocument.themeOverride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heme/themeOverride7.xml" ContentType="application/vnd.openxmlformats-officedocument.themeOverride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heme/themeOverride8.xml" ContentType="application/vnd.openxmlformats-officedocument.themeOverride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heme/themeOverride9.xml" ContentType="application/vnd.openxmlformats-officedocument.themeOverride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heme/themeOverride10.xml" ContentType="application/vnd.openxmlformats-officedocument.themeOverride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heme/themeOverride11.xml" ContentType="application/vnd.openxmlformats-officedocument.themeOverride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heme/themeOverride12.xml" ContentType="application/vnd.openxmlformats-officedocument.themeOverride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heme/themeOverride13.xml" ContentType="application/vnd.openxmlformats-officedocument.themeOverride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heme/themeOverride14.xml" ContentType="application/vnd.openxmlformats-officedocument.themeOverride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heme/themeOverride15.xml" ContentType="application/vnd.openxmlformats-officedocument.themeOverride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heme/themeOverride16.xml" ContentType="application/vnd.openxmlformats-officedocument.themeOverride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heme/themeOverride17.xml" ContentType="application/vnd.openxmlformats-officedocument.themeOverride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heme/themeOverride18.xml" ContentType="application/vnd.openxmlformats-officedocument.themeOverride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heme/themeOverride19.xml" ContentType="application/vnd.openxmlformats-officedocument.themeOverride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heme/themeOverride20.xml" ContentType="application/vnd.openxmlformats-officedocument.themeOverride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heme/themeOverride21.xml" ContentType="application/vnd.openxmlformats-officedocument.themeOverride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heme/themeOverride22.xml" ContentType="application/vnd.openxmlformats-officedocument.themeOverride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heme/themeOverride23.xml" ContentType="application/vnd.openxmlformats-officedocument.themeOverride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heme/themeOverride24.xml" ContentType="application/vnd.openxmlformats-officedocument.themeOverride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heme/themeOverride25.xml" ContentType="application/vnd.openxmlformats-officedocument.themeOverride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heme/themeOverride26.xml" ContentType="application/vnd.openxmlformats-officedocument.themeOverride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heme/themeOverride27.xml" ContentType="application/vnd.openxmlformats-officedocument.themeOverride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heme/themeOverride28.xml" ContentType="application/vnd.openxmlformats-officedocument.themeOverride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heme/themeOverride29.xml" ContentType="application/vnd.openxmlformats-officedocument.themeOverride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heme/themeOverride30.xml" ContentType="application/vnd.openxmlformats-officedocument.themeOverride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heme/themeOverride31.xml" ContentType="application/vnd.openxmlformats-officedocument.themeOverride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heme/themeOverride32.xml" ContentType="application/vnd.openxmlformats-officedocument.themeOverride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heme/themeOverride33.xml" ContentType="application/vnd.openxmlformats-officedocument.themeOverride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heme/themeOverride34.xml" ContentType="application/vnd.openxmlformats-officedocument.themeOverride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heme/themeOverride35.xml" ContentType="application/vnd.openxmlformats-officedocument.themeOverride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heme/themeOverride36.xml" ContentType="application/vnd.openxmlformats-officedocument.themeOverride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heme/themeOverride37.xml" ContentType="application/vnd.openxmlformats-officedocument.themeOverride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heme/themeOverride38.xml" ContentType="application/vnd.openxmlformats-officedocument.themeOverride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heme/themeOverride39.xml" ContentType="application/vnd.openxmlformats-officedocument.themeOverride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heme/themeOverride40.xml" ContentType="application/vnd.openxmlformats-officedocument.themeOverride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heme/themeOverride41.xml" ContentType="application/vnd.openxmlformats-officedocument.themeOverride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heme/themeOverride42.xml" ContentType="application/vnd.openxmlformats-officedocument.themeOverride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heme/themeOverride43.xml" ContentType="application/vnd.openxmlformats-officedocument.themeOverride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heme/themeOverride44.xml" ContentType="application/vnd.openxmlformats-officedocument.themeOverride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heme/themeOverride45.xml" ContentType="application/vnd.openxmlformats-officedocument.themeOverride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heme/themeOverride46.xml" ContentType="application/vnd.openxmlformats-officedocument.themeOverride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heme/themeOverride47.xml" ContentType="application/vnd.openxmlformats-officedocument.themeOverride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heme/themeOverride48.xml" ContentType="application/vnd.openxmlformats-officedocument.themeOverride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heme/themeOverride49.xml" ContentType="application/vnd.openxmlformats-officedocument.themeOverride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heme/themeOverride50.xml" ContentType="application/vnd.openxmlformats-officedocument.themeOverride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heme/themeOverride51.xml" ContentType="application/vnd.openxmlformats-officedocument.themeOverride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heme/themeOverride52.xml" ContentType="application/vnd.openxmlformats-officedocument.themeOverride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heme/themeOverride53.xml" ContentType="application/vnd.openxmlformats-officedocument.themeOverride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heme/themeOverride54.xml" ContentType="application/vnd.openxmlformats-officedocument.themeOverride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heme/themeOverride55.xml" ContentType="application/vnd.openxmlformats-officedocument.themeOverride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heme/themeOverride56.xml" ContentType="application/vnd.openxmlformats-officedocument.themeOverride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theme/theme4.xml" ContentType="application/vnd.openxmlformats-officedocument.theme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theme/theme5.xml" ContentType="application/vnd.openxmlformats-officedocument.theme+xml"/>
  <Override PartName="/ppt/tags/tag730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0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731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48" r:id="rId4"/>
    <p:sldMasterId id="2147483742" r:id="rId5"/>
    <p:sldMasterId id="2147483821" r:id="rId6"/>
    <p:sldMasterId id="2147484057" r:id="rId7"/>
    <p:sldMasterId id="2147484106" r:id="rId8"/>
  </p:sldMasterIdLst>
  <p:notesMasterIdLst>
    <p:notesMasterId r:id="rId29"/>
  </p:notesMasterIdLst>
  <p:handoutMasterIdLst>
    <p:handoutMasterId r:id="rId30"/>
  </p:handoutMasterIdLst>
  <p:sldIdLst>
    <p:sldId id="256" r:id="rId9"/>
    <p:sldId id="269" r:id="rId10"/>
    <p:sldId id="270" r:id="rId11"/>
    <p:sldId id="271" r:id="rId12"/>
    <p:sldId id="283" r:id="rId13"/>
    <p:sldId id="2147480935" r:id="rId14"/>
    <p:sldId id="282" r:id="rId15"/>
    <p:sldId id="284" r:id="rId16"/>
    <p:sldId id="2147480937" r:id="rId17"/>
    <p:sldId id="285" r:id="rId18"/>
    <p:sldId id="286" r:id="rId19"/>
    <p:sldId id="2147480938" r:id="rId20"/>
    <p:sldId id="2147483643" r:id="rId21"/>
    <p:sldId id="2147481437" r:id="rId22"/>
    <p:sldId id="2147483646" r:id="rId23"/>
    <p:sldId id="302" r:id="rId24"/>
    <p:sldId id="2147483647" r:id="rId25"/>
    <p:sldId id="262" r:id="rId26"/>
    <p:sldId id="2147483645" r:id="rId27"/>
    <p:sldId id="281" r:id="rId28"/>
  </p:sldIdLst>
  <p:sldSz cx="12192000" cy="6858000"/>
  <p:notesSz cx="6858000" cy="9144000"/>
  <p:defaultTextStyle>
    <a:defPPr>
      <a:defRPr lang="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1AA2B2A-8B56-D36F-E4D3-C1F02B2B352D}" name="Jessica Crawford" initials="JC" userId="S::jcrawford@gavi.org::732e840f-ebdf-4562-80d0-30e3614b127b" providerId="AD"/>
  <p188:author id="{587A6A65-6C7A-4681-AE0D-E64ECC403D65}" name="Edna Harimenshi" initials="EH" userId="S::eharimenshi@gavi.org::db577543-895d-414a-bbdd-6c70a917ffec" providerId="AD"/>
  <p188:author id="{B9877EED-FF32-C904-195E-015469E98E69}" name="Tarcile Mballa" initials="TM" userId="S::tmballa@gavi.org::7d9c0e76-ed67-41fc-9490-165f653a7bd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E5D"/>
    <a:srgbClr val="E6E6E6"/>
    <a:srgbClr val="00A1DF"/>
    <a:srgbClr val="F89B1D"/>
    <a:srgbClr val="DB4835"/>
    <a:srgbClr val="F87C56"/>
    <a:srgbClr val="C4F5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588" autoAdjust="0"/>
    <p:restoredTop sz="83618" autoAdjust="0"/>
  </p:normalViewPr>
  <p:slideViewPr>
    <p:cSldViewPr snapToGrid="0">
      <p:cViewPr>
        <p:scale>
          <a:sx n="50" d="100"/>
          <a:sy n="50" d="100"/>
        </p:scale>
        <p:origin x="1336" y="164"/>
      </p:cViewPr>
      <p:guideLst>
        <p:guide pos="3840"/>
        <p:guide orient="horz" pos="216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34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microsoft.com/office/2018/10/relationships/authors" Target="author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handoutMaster" Target="handoutMasters/handoutMaster1.xml"/><Relationship Id="rId35" Type="http://schemas.microsoft.com/office/2016/11/relationships/changesInfo" Target="changesInfos/changesInfo1.xml"/><Relationship Id="rId8" Type="http://schemas.openxmlformats.org/officeDocument/2006/relationships/slideMaster" Target="slideMasters/slideMaster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ius Keller" userId="a4345230f022daf0" providerId="LiveId" clId="{2CCC6DFB-BD63-44CB-892E-AACCC7523962}"/>
    <pc:docChg chg="custSel delSld modSld">
      <pc:chgData name="Marius Keller" userId="a4345230f022daf0" providerId="LiveId" clId="{2CCC6DFB-BD63-44CB-892E-AACCC7523962}" dt="2025-01-24T11:00:50.373" v="430" actId="6549"/>
      <pc:docMkLst>
        <pc:docMk/>
      </pc:docMkLst>
      <pc:sldChg chg="modSp mod">
        <pc:chgData name="Marius Keller" userId="a4345230f022daf0" providerId="LiveId" clId="{2CCC6DFB-BD63-44CB-892E-AACCC7523962}" dt="2025-01-24T09:55:39.282" v="427" actId="20577"/>
        <pc:sldMkLst>
          <pc:docMk/>
          <pc:sldMk cId="2476241288" sldId="271"/>
        </pc:sldMkLst>
        <pc:spChg chg="mod">
          <ac:chgData name="Marius Keller" userId="a4345230f022daf0" providerId="LiveId" clId="{2CCC6DFB-BD63-44CB-892E-AACCC7523962}" dt="2025-01-24T09:55:39.282" v="427" actId="20577"/>
          <ac:spMkLst>
            <pc:docMk/>
            <pc:sldMk cId="2476241288" sldId="271"/>
            <ac:spMk id="9" creationId="{C1458530-564E-8DE9-7FE0-77A9A22CB6A4}"/>
          </ac:spMkLst>
        </pc:spChg>
        <pc:picChg chg="mod">
          <ac:chgData name="Marius Keller" userId="a4345230f022daf0" providerId="LiveId" clId="{2CCC6DFB-BD63-44CB-892E-AACCC7523962}" dt="2025-01-24T09:31:24.558" v="55" actId="1076"/>
          <ac:picMkLst>
            <pc:docMk/>
            <pc:sldMk cId="2476241288" sldId="271"/>
            <ac:picMk id="5" creationId="{7DB9391C-E91A-52EF-919D-AAF320A417D0}"/>
          </ac:picMkLst>
        </pc:picChg>
      </pc:sldChg>
      <pc:sldChg chg="modSp mod">
        <pc:chgData name="Marius Keller" userId="a4345230f022daf0" providerId="LiveId" clId="{2CCC6DFB-BD63-44CB-892E-AACCC7523962}" dt="2025-01-24T09:40:28.326" v="169" actId="27636"/>
        <pc:sldMkLst>
          <pc:docMk/>
          <pc:sldMk cId="904786918" sldId="285"/>
        </pc:sldMkLst>
        <pc:spChg chg="mod">
          <ac:chgData name="Marius Keller" userId="a4345230f022daf0" providerId="LiveId" clId="{2CCC6DFB-BD63-44CB-892E-AACCC7523962}" dt="2025-01-24T09:40:28.326" v="169" actId="27636"/>
          <ac:spMkLst>
            <pc:docMk/>
            <pc:sldMk cId="904786918" sldId="285"/>
            <ac:spMk id="10" creationId="{6B9720F2-36E0-0C8B-B8EB-1BF599029930}"/>
          </ac:spMkLst>
        </pc:spChg>
      </pc:sldChg>
      <pc:sldChg chg="modNotesTx">
        <pc:chgData name="Marius Keller" userId="a4345230f022daf0" providerId="LiveId" clId="{2CCC6DFB-BD63-44CB-892E-AACCC7523962}" dt="2025-01-24T11:00:45.135" v="429" actId="6549"/>
        <pc:sldMkLst>
          <pc:docMk/>
          <pc:sldMk cId="3160031027" sldId="302"/>
        </pc:sldMkLst>
      </pc:sldChg>
      <pc:sldChg chg="modSp mod">
        <pc:chgData name="Marius Keller" userId="a4345230f022daf0" providerId="LiveId" clId="{2CCC6DFB-BD63-44CB-892E-AACCC7523962}" dt="2025-01-24T09:30:56.034" v="54" actId="14100"/>
        <pc:sldMkLst>
          <pc:docMk/>
          <pc:sldMk cId="3238535226" sldId="2147480935"/>
        </pc:sldMkLst>
        <pc:picChg chg="mod">
          <ac:chgData name="Marius Keller" userId="a4345230f022daf0" providerId="LiveId" clId="{2CCC6DFB-BD63-44CB-892E-AACCC7523962}" dt="2025-01-24T09:30:56.034" v="54" actId="14100"/>
          <ac:picMkLst>
            <pc:docMk/>
            <pc:sldMk cId="3238535226" sldId="2147480935"/>
            <ac:picMk id="9" creationId="{0E224253-B050-9B67-04AA-6392F47DA4AB}"/>
          </ac:picMkLst>
        </pc:picChg>
      </pc:sldChg>
      <pc:sldChg chg="modSp mod">
        <pc:chgData name="Marius Keller" userId="a4345230f022daf0" providerId="LiveId" clId="{2CCC6DFB-BD63-44CB-892E-AACCC7523962}" dt="2025-01-24T09:38:00.217" v="164" actId="20577"/>
        <pc:sldMkLst>
          <pc:docMk/>
          <pc:sldMk cId="2136664154" sldId="2147480937"/>
        </pc:sldMkLst>
        <pc:spChg chg="mod">
          <ac:chgData name="Marius Keller" userId="a4345230f022daf0" providerId="LiveId" clId="{2CCC6DFB-BD63-44CB-892E-AACCC7523962}" dt="2025-01-24T09:36:37.383" v="89" actId="20577"/>
          <ac:spMkLst>
            <pc:docMk/>
            <pc:sldMk cId="2136664154" sldId="2147480937"/>
            <ac:spMk id="4" creationId="{C1527EF7-1955-23D1-1B63-2E92C8ACC531}"/>
          </ac:spMkLst>
        </pc:spChg>
        <pc:spChg chg="mod">
          <ac:chgData name="Marius Keller" userId="a4345230f022daf0" providerId="LiveId" clId="{2CCC6DFB-BD63-44CB-892E-AACCC7523962}" dt="2025-01-24T09:38:00.217" v="164" actId="20577"/>
          <ac:spMkLst>
            <pc:docMk/>
            <pc:sldMk cId="2136664154" sldId="2147480937"/>
            <ac:spMk id="5" creationId="{7349E30A-DD03-AB7C-5670-E3BB0446219E}"/>
          </ac:spMkLst>
        </pc:spChg>
        <pc:spChg chg="mod">
          <ac:chgData name="Marius Keller" userId="a4345230f022daf0" providerId="LiveId" clId="{2CCC6DFB-BD63-44CB-892E-AACCC7523962}" dt="2025-01-24T09:30:46.424" v="52" actId="1076"/>
          <ac:spMkLst>
            <pc:docMk/>
            <pc:sldMk cId="2136664154" sldId="2147480937"/>
            <ac:spMk id="6" creationId="{0D5C73FC-A6BD-FCDC-05D6-3873FA07F9B1}"/>
          </ac:spMkLst>
        </pc:spChg>
      </pc:sldChg>
      <pc:sldChg chg="modSp mod">
        <pc:chgData name="Marius Keller" userId="a4345230f022daf0" providerId="LiveId" clId="{2CCC6DFB-BD63-44CB-892E-AACCC7523962}" dt="2025-01-24T09:49:40.145" v="402" actId="1035"/>
        <pc:sldMkLst>
          <pc:docMk/>
          <pc:sldMk cId="3335792547" sldId="2147480938"/>
        </pc:sldMkLst>
        <pc:spChg chg="mod">
          <ac:chgData name="Marius Keller" userId="a4345230f022daf0" providerId="LiveId" clId="{2CCC6DFB-BD63-44CB-892E-AACCC7523962}" dt="2025-01-24T09:48:49.778" v="396" actId="255"/>
          <ac:spMkLst>
            <pc:docMk/>
            <pc:sldMk cId="3335792547" sldId="2147480938"/>
            <ac:spMk id="2" creationId="{C26C6088-08EF-D51B-CAE9-7439D86D4E22}"/>
          </ac:spMkLst>
        </pc:spChg>
        <pc:graphicFrameChg chg="mod modGraphic">
          <ac:chgData name="Marius Keller" userId="a4345230f022daf0" providerId="LiveId" clId="{2CCC6DFB-BD63-44CB-892E-AACCC7523962}" dt="2025-01-24T09:49:40.145" v="402" actId="1035"/>
          <ac:graphicFrameMkLst>
            <pc:docMk/>
            <pc:sldMk cId="3335792547" sldId="2147480938"/>
            <ac:graphicFrameMk id="4" creationId="{D4D230BA-9E26-E5EC-8C0D-0391A8EC39FB}"/>
          </ac:graphicFrameMkLst>
        </pc:graphicFrameChg>
      </pc:sldChg>
      <pc:sldChg chg="modNotesTx">
        <pc:chgData name="Marius Keller" userId="a4345230f022daf0" providerId="LiveId" clId="{2CCC6DFB-BD63-44CB-892E-AACCC7523962}" dt="2025-01-24T11:00:50.373" v="430" actId="6549"/>
        <pc:sldMkLst>
          <pc:docMk/>
          <pc:sldMk cId="562123400" sldId="2147481437"/>
        </pc:sldMkLst>
      </pc:sldChg>
      <pc:sldChg chg="del">
        <pc:chgData name="Marius Keller" userId="a4345230f022daf0" providerId="LiveId" clId="{2CCC6DFB-BD63-44CB-892E-AACCC7523962}" dt="2025-01-24T10:56:34.587" v="428" actId="47"/>
        <pc:sldMkLst>
          <pc:docMk/>
          <pc:sldMk cId="2495146796" sldId="2147481438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759097980123261E-2"/>
          <c:y val="0.14615962001556609"/>
          <c:w val="0.91028239760222562"/>
          <c:h val="0.6849303705765014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BCG
(Naissance)</c:v>
                </c:pt>
                <c:pt idx="1">
                  <c:v>Penta 1
(6 semaines)</c:v>
                </c:pt>
                <c:pt idx="2">
                  <c:v>Penta 2
(10 semaines)</c:v>
                </c:pt>
                <c:pt idx="3">
                  <c:v>Penta 3
(14 semaines)</c:v>
                </c:pt>
                <c:pt idx="4">
                  <c:v>VAS 1
(9 mois)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89.3</c:v>
                </c:pt>
                <c:pt idx="1">
                  <c:v>95.4</c:v>
                </c:pt>
                <c:pt idx="2">
                  <c:v>90</c:v>
                </c:pt>
                <c:pt idx="3">
                  <c:v>83.4</c:v>
                </c:pt>
                <c:pt idx="4">
                  <c:v>79.5999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C59-41EF-8690-ABAEA821F8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099519056"/>
        <c:axId val="2099517136"/>
      </c:barChart>
      <c:catAx>
        <c:axId val="20995190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99517136"/>
        <c:crosses val="autoZero"/>
        <c:auto val="1"/>
        <c:lblAlgn val="ctr"/>
        <c:lblOffset val="100"/>
        <c:noMultiLvlLbl val="0"/>
      </c:catAx>
      <c:valAx>
        <c:axId val="2099517136"/>
        <c:scaling>
          <c:orientation val="minMax"/>
          <c:max val="1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995190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773209299857568"/>
          <c:y val="0.1425239289690558"/>
          <c:w val="0.56921305633651509"/>
          <c:h val="0.6782466482153768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HSS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2024
(fundos utilizados)</c:v>
                </c:pt>
                <c:pt idx="1">
                  <c:v>2025
(fundos disponiveis)</c:v>
                </c:pt>
              </c:strCache>
            </c:strRef>
          </c:cat>
          <c:val>
            <c:numRef>
              <c:f>Sheet1!$B$2:$B$3</c:f>
              <c:numCache>
                <c:formatCode>_([$$-409]* #,##0_);_([$$-409]* \(#,##0\);_([$$-409]* "-"??_);_(@_)</c:formatCode>
                <c:ptCount val="2"/>
                <c:pt idx="0">
                  <c:v>671374</c:v>
                </c:pt>
                <c:pt idx="1">
                  <c:v>14807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0F1-4077-A087-0AFA870397C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DS3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2024
(fundos utilizados)</c:v>
                </c:pt>
                <c:pt idx="1">
                  <c:v>2025
(fundos disponiveis)</c:v>
                </c:pt>
              </c:strCache>
            </c:strRef>
          </c:cat>
          <c:val>
            <c:numRef>
              <c:f>Sheet1!$C$2:$C$3</c:f>
              <c:numCache>
                <c:formatCode>_([$$-409]* #,##0_);_([$$-409]* \(#,##0\);_([$$-409]* "-"??_);_(@_)</c:formatCode>
                <c:ptCount val="2"/>
                <c:pt idx="0">
                  <c:v>837487</c:v>
                </c:pt>
                <c:pt idx="1">
                  <c:v>15082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0F1-4077-A087-0AFA870397C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ampanha VASR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2024
(fundos utilizados)</c:v>
                </c:pt>
                <c:pt idx="1">
                  <c:v>2025
(fundos disponiveis)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 formatCode="_([$$-409]* #,##0_);_([$$-409]* \(#,##0\);_([$$-409]* &quot;-&quot;??_);_(@_)">
                  <c:v>5597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0F1-4077-A087-0AFA870397C5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Intro VASR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2024
(fundos utilizados)</c:v>
                </c:pt>
                <c:pt idx="1">
                  <c:v>2025
(fundos disponiveis)</c:v>
                </c:pt>
              </c:strCache>
            </c:strRef>
          </c:cat>
          <c:val>
            <c:numRef>
              <c:f>Sheet1!$E$2:$E$3</c:f>
              <c:numCache>
                <c:formatCode>_([$$-409]* #,##0_);_([$$-409]* \(#,##0\);_([$$-409]* "-"??_);_(@_)</c:formatCode>
                <c:ptCount val="2"/>
                <c:pt idx="1">
                  <c:v>978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0F1-4077-A087-0AFA870397C5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Campanha FA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2024
(fundos utilizados)</c:v>
                </c:pt>
                <c:pt idx="1">
                  <c:v>2025
(fundos disponiveis)</c:v>
                </c:pt>
              </c:strCache>
            </c:strRef>
          </c:cat>
          <c:val>
            <c:numRef>
              <c:f>Sheet1!$F$2:$F$3</c:f>
              <c:numCache>
                <c:formatCode>_([$$-409]* #,##0_);_([$$-409]* \(#,##0\);_([$$-409]* "-"??_);_(@_)</c:formatCode>
                <c:ptCount val="2"/>
                <c:pt idx="1">
                  <c:v>11909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0F1-4077-A087-0AFA870397C5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EAF (2025-27)</c:v>
                </c:pt>
              </c:strCache>
            </c:strRef>
          </c:tx>
          <c:spPr>
            <a:pattFill prst="ltUpDiag">
              <a:fgClr>
                <a:schemeClr val="bg2"/>
              </a:fgClr>
              <a:bgClr>
                <a:schemeClr val="bg1"/>
              </a:bgClr>
            </a:pattFill>
            <a:ln w="15875">
              <a:noFill/>
              <a:prstDash val="dash"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2024
(fundos utilizados)</c:v>
                </c:pt>
                <c:pt idx="1">
                  <c:v>2025
(fundos disponiveis)</c:v>
                </c:pt>
              </c:strCache>
            </c:strRef>
          </c:cat>
          <c:val>
            <c:numRef>
              <c:f>Sheet1!$G$2:$G$3</c:f>
              <c:numCache>
                <c:formatCode>_([$$-409]* #,##0_);_([$$-409]* \(#,##0\);_([$$-409]* "-"??_);_(@_)</c:formatCode>
                <c:ptCount val="2"/>
                <c:pt idx="1">
                  <c:v>1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0F1-4077-A087-0AFA870397C5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080807375"/>
        <c:axId val="1080789135"/>
      </c:barChart>
      <c:line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Total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dPt>
            <c:idx val="1"/>
            <c:marker>
              <c:symbol val="none"/>
            </c:marker>
            <c:bubble3D val="0"/>
            <c:spPr>
              <a:ln w="28575" cap="rnd">
                <a:solidFill>
                  <a:schemeClr val="bg1">
                    <a:alpha val="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7-E0F1-4077-A087-0AFA870397C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2024
(fundos utilizados)</c:v>
                </c:pt>
                <c:pt idx="1">
                  <c:v>2025
(fundos disponiveis)</c:v>
                </c:pt>
              </c:strCache>
            </c:strRef>
          </c:cat>
          <c:val>
            <c:numRef>
              <c:f>Sheet1!$H$2:$H$3</c:f>
              <c:numCache>
                <c:formatCode>_("$"* #,##0_);_("$"* \(#,##0\);_("$"* "-"??_);_(@_)</c:formatCode>
                <c:ptCount val="2"/>
                <c:pt idx="0">
                  <c:v>2068581</c:v>
                </c:pt>
                <c:pt idx="1">
                  <c:v>52777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E0F1-4077-A087-0AFA870397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80807375"/>
        <c:axId val="1080789135"/>
      </c:lineChart>
      <c:catAx>
        <c:axId val="108080737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80789135"/>
        <c:crosses val="autoZero"/>
        <c:auto val="1"/>
        <c:lblAlgn val="ctr"/>
        <c:lblOffset val="100"/>
        <c:noMultiLvlLbl val="0"/>
      </c:catAx>
      <c:valAx>
        <c:axId val="108078913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[$$-409]* #,##0_);_([$$-409]* \(#,##0\);_([$$-409]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8080737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6"/>
        <c:delete val="1"/>
      </c:legendEntry>
      <c:layout>
        <c:manualLayout>
          <c:xMode val="edge"/>
          <c:yMode val="edge"/>
          <c:x val="0.73447590644710392"/>
          <c:y val="0.16284643373392016"/>
          <c:w val="0.24068554386826232"/>
          <c:h val="0.6984731504614263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bg1"/>
      </a:solidFill>
    </a:ln>
    <a:effectLst/>
  </c:spPr>
  <c:txPr>
    <a:bodyPr/>
    <a:lstStyle/>
    <a:p>
      <a:pPr>
        <a:defRPr sz="1600"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92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pt" b="1"/>
              <a:t>Número de atividades de AT 2024-25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92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bg2"/>
            </a:solidFill>
          </c:spPr>
          <c:dPt>
            <c:idx val="0"/>
            <c:bubble3D val="0"/>
            <c:spPr>
              <a:solidFill>
                <a:schemeClr val="bg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A01-49E9-8E67-3D985978CBD5}"/>
              </c:ext>
            </c:extLst>
          </c:dPt>
          <c:dPt>
            <c:idx val="1"/>
            <c:bubble3D val="0"/>
            <c:spPr>
              <a:solidFill>
                <a:schemeClr val="bg2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4AC-44A8-B25E-CC179674370E}"/>
              </c:ext>
            </c:extLst>
          </c:dPt>
          <c:dPt>
            <c:idx val="2"/>
            <c:bubble3D val="0"/>
            <c:spPr>
              <a:solidFill>
                <a:schemeClr val="bg2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4AC-44A8-B25E-CC179674370E}"/>
              </c:ext>
            </c:extLst>
          </c:dPt>
          <c:dPt>
            <c:idx val="3"/>
            <c:bubble3D val="0"/>
            <c:spPr>
              <a:solidFill>
                <a:schemeClr val="bg2">
                  <a:lumMod val="20000"/>
                  <a:lumOff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84AC-44A8-B25E-CC179674370E}"/>
              </c:ext>
            </c:extLst>
          </c:dPt>
          <c:dPt>
            <c:idx val="4"/>
            <c:bubble3D val="0"/>
            <c:spPr>
              <a:solidFill>
                <a:schemeClr val="bg1"/>
              </a:solidFill>
              <a:ln w="19050">
                <a:solidFill>
                  <a:schemeClr val="bg2">
                    <a:lumMod val="20000"/>
                    <a:lumOff val="8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84AC-44A8-B25E-CC179674370E}"/>
              </c:ext>
            </c:extLst>
          </c:dPt>
          <c:dLbls>
            <c:dLbl>
              <c:idx val="2"/>
              <c:layout>
                <c:manualLayout>
                  <c:x val="0.16084466714387971"/>
                  <c:y val="5.7469168254022526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4AC-44A8-B25E-CC179674370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OMS</c:v>
                </c:pt>
                <c:pt idx="1">
                  <c:v>UNICEF</c:v>
                </c:pt>
                <c:pt idx="2">
                  <c:v>Banco Mundial</c:v>
                </c:pt>
                <c:pt idx="3">
                  <c:v>Solina</c:v>
                </c:pt>
                <c:pt idx="4">
                  <c:v>Projeto Bandim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9</c:v>
                </c:pt>
                <c:pt idx="1">
                  <c:v>11</c:v>
                </c:pt>
                <c:pt idx="2">
                  <c:v>1</c:v>
                </c:pt>
                <c:pt idx="3">
                  <c:v>3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4AC-44A8-B25E-CC179674370E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92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pt" b="1" dirty="0"/>
              <a:t>Status </a:t>
            </a:r>
            <a:r>
              <a:rPr lang="pt" b="1" baseline="0" dirty="0"/>
              <a:t>de implementação</a:t>
            </a:r>
            <a:endParaRPr lang="en-US" b="1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92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bg2"/>
            </a:solidFill>
          </c:spPr>
          <c:dPt>
            <c:idx val="0"/>
            <c:bubble3D val="0"/>
            <c:spPr>
              <a:solidFill>
                <a:srgbClr val="00B05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AD6-477A-8AB8-DD37B2263076}"/>
              </c:ext>
            </c:extLst>
          </c:dPt>
          <c:dPt>
            <c:idx val="1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4AC-44A8-B25E-CC179674370E}"/>
              </c:ext>
            </c:extLst>
          </c:dPt>
          <c:dPt>
            <c:idx val="2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4AC-44A8-B25E-CC179674370E}"/>
              </c:ext>
            </c:extLst>
          </c:dPt>
          <c:dPt>
            <c:idx val="3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84AC-44A8-B25E-CC179674370E}"/>
              </c:ext>
            </c:extLst>
          </c:dPt>
          <c:dLbls>
            <c:dLbl>
              <c:idx val="0"/>
              <c:dLblPos val="inEnd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0514293981868124"/>
                      <c:h val="0.13109257556336146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AAD6-477A-8AB8-DD37B2263076}"/>
                </c:ext>
              </c:extLst>
            </c:dLbl>
            <c:dLbl>
              <c:idx val="1"/>
              <c:dLblPos val="inEnd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6781588804877186"/>
                      <c:h val="0.13109257556336146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84AC-44A8-B25E-CC179674370E}"/>
                </c:ext>
              </c:extLst>
            </c:dLbl>
            <c:dLbl>
              <c:idx val="2"/>
              <c:layout>
                <c:manualLayout>
                  <c:x val="0.16084487780648138"/>
                  <c:y val="0.19460828091834159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733513833439346"/>
                      <c:h val="0.13109257556336146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84AC-44A8-B25E-CC179674370E}"/>
                </c:ext>
              </c:extLst>
            </c:dLbl>
            <c:dLbl>
              <c:idx val="3"/>
              <c:dLblPos val="inEnd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6352178407582666"/>
                      <c:h val="0.13109257556336146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84AC-44A8-B25E-CC179674370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Concluido</c:v>
                </c:pt>
                <c:pt idx="1">
                  <c:v>Em curso</c:v>
                </c:pt>
                <c:pt idx="2">
                  <c:v>Atrasada</c:v>
                </c:pt>
                <c:pt idx="3">
                  <c:v>Cancelada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6</c:v>
                </c:pt>
                <c:pt idx="1">
                  <c:v>15</c:v>
                </c:pt>
                <c:pt idx="2">
                  <c:v>4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4AC-44A8-B25E-CC179674370E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4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FEAE5B8-1887-744D-B3C4-E3B6006B544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E8A97F-06D7-884B-8B46-968602B43C5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55DCC0-6116-C243-966D-E1A927F582C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C2D543-721A-CF4A-A41A-C589B71FF5F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7879077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B02DF4-D578-9E44-A905-1D4F1D9996EB}" type="datetimeFigureOut">
              <a:rPr lang="en-GB" smtClean="0"/>
              <a:t>23/01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5B49A3-D38C-2F4A-9EF6-13EF087A7D7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55908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5B49A3-D38C-2F4A-9EF6-13EF087A7D7F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694072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C01B29-2769-5F3B-21BB-EAFA1303A5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3D60D54-8CE8-07CB-7FAB-6A8E766E026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DAE2A9C-40E2-2292-8919-8E370D1FA5F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41CF7E-1CEE-FBC4-2996-FBEE6DEB7CD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5B49A3-D38C-2F4A-9EF6-13EF087A7D7F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138207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F3A3FA-D5FE-2995-962F-DF3369DA80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19CDA25-7AA0-9101-0AFC-5A262CA6FF6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A3A85ED-DDC5-F502-6689-49829940F5E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1842C8-0F50-585E-0AF0-EC599EE91A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5B49A3-D38C-2F4A-9EF6-13EF087A7D7F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2918486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5B49A3-D38C-2F4A-9EF6-13EF087A7D7F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467506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C9A522-35B6-6077-CD9B-009DFEE2AA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1BD0A55-FCAD-3068-090E-0AC36F84858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B0DA383-DE6E-A0CD-2FEB-A91A2CCEC67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AutoNum type="alphaLcPeriod"/>
            </a:pPr>
            <a:endParaRPr lang="en-GB" dirty="0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0E56A80-C09A-4B08-8195-090DC8C66AD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5B49A3-D38C-2F4A-9EF6-13EF087A7D7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887706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7E467E-C725-8993-D011-961EFC7DE5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13E33FC-1082-0D9E-BCBE-963BE210805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8B2517D-5100-1FAF-AFE5-D460B50F320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088079-CCE6-BA08-2969-0F94D464D06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5B49A3-D38C-2F4A-9EF6-13EF087A7D7F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46458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0E8D7F-3C61-F4DF-3EAB-F214F02470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DB651A9-CEEE-DFE0-564E-B8BFA3FB7B0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BEF2EEE-1368-D190-0528-018F720DC1F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AA16301-5F57-ACB4-D695-C0731465A59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5B49A3-D38C-2F4A-9EF6-13EF087A7D7F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12810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8A51B9-0ABC-0E09-2FC8-B5B22B34B5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C2ACAA6-00E7-D1BB-FD01-B61B546BF5A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3460692-0730-2F06-E0AD-95C114DC6F3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D5B7F03-8D09-6478-17EB-4B8B3EDDF46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5B49A3-D38C-2F4A-9EF6-13EF087A7D7F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84929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DC4B97-7A7B-56B6-2714-FF0164A070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942FC52-A2A9-41BC-752D-DEE8219FB23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D02603C-9834-4DB1-F301-59F58A66F21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1B352C-EC00-6C8E-7167-37D7FDE8919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5B49A3-D38C-2F4A-9EF6-13EF087A7D7F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942823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pt" dirty="0"/>
              <a:t>Olhando para as mortes futuras esperadas avisadas entre 2000 e 2025</a:t>
            </a:r>
          </a:p>
          <a:p>
            <a:pPr marL="171450" indent="-171450">
              <a:buFontTx/>
              <a:buChar char="-"/>
            </a:pPr>
            <a:r>
              <a:rPr lang="pt" dirty="0"/>
              <a:t>O impacto aumentou à medida que os países introduziram mais vacinas- </a:t>
            </a:r>
            <a:r>
              <a:rPr lang="pt" dirty="0" err="1"/>
              <a:t>moros</a:t>
            </a:r>
            <a:r>
              <a:rPr lang="pt" dirty="0"/>
              <a:t> </a:t>
            </a:r>
            <a:r>
              <a:rPr lang="pt" dirty="0" err="1"/>
              <a:t>futuros</a:t>
            </a:r>
            <a:r>
              <a:rPr lang="pt" dirty="0"/>
              <a:t> </a:t>
            </a:r>
            <a:r>
              <a:rPr lang="pt" dirty="0" err="1"/>
              <a:t>evidaos</a:t>
            </a:r>
            <a:endParaRPr lang="en-US" dirty="0"/>
          </a:p>
          <a:p>
            <a:pPr marL="171450" indent="-171450">
              <a:buFontTx/>
              <a:buChar char="-"/>
            </a:pPr>
            <a:r>
              <a:rPr lang="pt" dirty="0"/>
              <a:t>Menor total esperado de mortes futuras em 2020/-2025: reflete </a:t>
            </a:r>
            <a:r>
              <a:rPr lang="pt" dirty="0" err="1"/>
              <a:t>xxxx </a:t>
            </a:r>
            <a:r>
              <a:rPr lang="pt" dirty="0"/>
              <a:t>– dados refletidos </a:t>
            </a:r>
            <a:r>
              <a:rPr lang="pt" dirty="0" err="1"/>
              <a:t>hachurados </a:t>
            </a:r>
            <a:r>
              <a:rPr lang="pt" dirty="0"/>
              <a:t>de 2024, portanto desconhecidos</a:t>
            </a:r>
          </a:p>
          <a:p>
            <a:pPr marL="171450" indent="-171450">
              <a:buFontTx/>
              <a:buChar char="-"/>
            </a:pPr>
            <a:r>
              <a:rPr lang="pt" dirty="0"/>
              <a:t>Chave: sarampo e </a:t>
            </a:r>
            <a:r>
              <a:rPr lang="pt" dirty="0" err="1"/>
              <a:t>tenepes </a:t>
            </a:r>
            <a:r>
              <a:rPr lang="pt" dirty="0"/>
              <a:t>contribuíram historicamente para a morte invertida</a:t>
            </a:r>
          </a:p>
          <a:p>
            <a:pPr marL="171450" indent="-171450">
              <a:buFontTx/>
              <a:buChar char="-"/>
            </a:pPr>
            <a:r>
              <a:rPr lang="pt" dirty="0"/>
              <a:t>Mas também a febre amarela e </a:t>
            </a:r>
            <a:r>
              <a:rPr lang="pt" dirty="0" err="1"/>
              <a:t>a rota </a:t>
            </a:r>
            <a:r>
              <a:rPr lang="pt" dirty="0"/>
              <a:t>estão aparecendo</a:t>
            </a:r>
          </a:p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5B49A3-D38C-2F4A-9EF6-13EF087A7D7F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18818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4D7DFC-775B-46C7-2D7C-4CBEB92471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74BA2BB-1C24-FF6E-F109-34832161D36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943BE2E-21D2-4036-B69B-4ADF124A23F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2BFF6E6-83D3-6169-F874-3E8508F959D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5B49A3-D38C-2F4A-9EF6-13EF087A7D7F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181246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460BCB-C853-F642-9FF9-228D181E52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A28C829-5F77-2212-D4B9-514D9B95FC8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89A4AD8-626D-985D-9275-80E4399B545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ED99A21-2E85-E990-A2D5-7AA22AED5D4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5B49A3-D38C-2F4A-9EF6-13EF087A7D7F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534324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4367A6-A273-C324-8FEE-B84F1D4CB1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24CECFA-9880-1CBB-9539-2FDC072B142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015D74A-5E9B-9F00-3594-745F204D3AC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D9995A-CFA2-9562-78BC-AD6C59C32B2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5B49A3-D38C-2F4A-9EF6-13EF087A7D7F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072953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DBF402-4943-61BC-83DC-F0E47FAA99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98D9B90-71BF-DDF9-EAB2-506DEEE8863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9463B20-91E9-C37D-E43F-F87BF2301C4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BED280-9DFC-AB08-2959-75E521C5764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5B49A3-D38C-2F4A-9EF6-13EF087A7D7F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34368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34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35.bin"/></Relationships>
</file>

<file path=ppt/slideLayouts/_rels/slideLayout10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128.xml"/><Relationship Id="rId7" Type="http://schemas.openxmlformats.org/officeDocument/2006/relationships/image" Target="../media/image23.emf"/><Relationship Id="rId2" Type="http://schemas.openxmlformats.org/officeDocument/2006/relationships/tags" Target="../tags/tag127.xml"/><Relationship Id="rId1" Type="http://schemas.openxmlformats.org/officeDocument/2006/relationships/themeOverride" Target="../theme/themeOverride7.xml"/><Relationship Id="rId6" Type="http://schemas.openxmlformats.org/officeDocument/2006/relationships/oleObject" Target="../embeddings/oleObject36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29.xml"/></Relationships>
</file>

<file path=ppt/slideLayouts/_rels/slideLayout10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emf"/><Relationship Id="rId3" Type="http://schemas.openxmlformats.org/officeDocument/2006/relationships/tags" Target="../tags/tag131.xml"/><Relationship Id="rId7" Type="http://schemas.openxmlformats.org/officeDocument/2006/relationships/oleObject" Target="../embeddings/oleObject37.bin"/><Relationship Id="rId2" Type="http://schemas.openxmlformats.org/officeDocument/2006/relationships/tags" Target="../tags/tag130.xml"/><Relationship Id="rId1" Type="http://schemas.openxmlformats.org/officeDocument/2006/relationships/themeOverride" Target="../theme/themeOverride8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33.xml"/><Relationship Id="rId4" Type="http://schemas.openxmlformats.org/officeDocument/2006/relationships/tags" Target="../tags/tag132.xml"/><Relationship Id="rId9" Type="http://schemas.openxmlformats.org/officeDocument/2006/relationships/image" Target="../media/image24.png"/></Relationships>
</file>

<file path=ppt/slideLayouts/_rels/slideLayout10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emf"/><Relationship Id="rId3" Type="http://schemas.openxmlformats.org/officeDocument/2006/relationships/tags" Target="../tags/tag135.xml"/><Relationship Id="rId7" Type="http://schemas.openxmlformats.org/officeDocument/2006/relationships/oleObject" Target="../embeddings/oleObject38.bin"/><Relationship Id="rId2" Type="http://schemas.openxmlformats.org/officeDocument/2006/relationships/tags" Target="../tags/tag134.xml"/><Relationship Id="rId1" Type="http://schemas.openxmlformats.org/officeDocument/2006/relationships/themeOverride" Target="../theme/themeOverride9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37.xml"/><Relationship Id="rId4" Type="http://schemas.openxmlformats.org/officeDocument/2006/relationships/tags" Target="../tags/tag136.xml"/><Relationship Id="rId9" Type="http://schemas.openxmlformats.org/officeDocument/2006/relationships/image" Target="../media/image24.png"/></Relationships>
</file>

<file path=ppt/slideLayouts/_rels/slideLayout10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139.xml"/><Relationship Id="rId7" Type="http://schemas.openxmlformats.org/officeDocument/2006/relationships/image" Target="../media/image23.emf"/><Relationship Id="rId2" Type="http://schemas.openxmlformats.org/officeDocument/2006/relationships/tags" Target="../tags/tag138.xml"/><Relationship Id="rId1" Type="http://schemas.openxmlformats.org/officeDocument/2006/relationships/themeOverride" Target="../theme/themeOverride10.xml"/><Relationship Id="rId6" Type="http://schemas.openxmlformats.org/officeDocument/2006/relationships/oleObject" Target="../embeddings/oleObject3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40.xml"/></Relationships>
</file>

<file path=ppt/slideLayouts/_rels/slideLayout10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142.xml"/><Relationship Id="rId7" Type="http://schemas.openxmlformats.org/officeDocument/2006/relationships/image" Target="../media/image23.emf"/><Relationship Id="rId2" Type="http://schemas.openxmlformats.org/officeDocument/2006/relationships/tags" Target="../tags/tag141.xml"/><Relationship Id="rId1" Type="http://schemas.openxmlformats.org/officeDocument/2006/relationships/themeOverride" Target="../theme/themeOverride11.xml"/><Relationship Id="rId6" Type="http://schemas.openxmlformats.org/officeDocument/2006/relationships/oleObject" Target="../embeddings/oleObject40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43.xml"/></Relationships>
</file>

<file path=ppt/slideLayouts/_rels/slideLayout10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145.xml"/><Relationship Id="rId7" Type="http://schemas.openxmlformats.org/officeDocument/2006/relationships/image" Target="../media/image23.emf"/><Relationship Id="rId2" Type="http://schemas.openxmlformats.org/officeDocument/2006/relationships/tags" Target="../tags/tag144.xml"/><Relationship Id="rId1" Type="http://schemas.openxmlformats.org/officeDocument/2006/relationships/themeOverride" Target="../theme/themeOverride12.xml"/><Relationship Id="rId6" Type="http://schemas.openxmlformats.org/officeDocument/2006/relationships/oleObject" Target="../embeddings/oleObject41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46.xml"/></Relationships>
</file>

<file path=ppt/slideLayouts/_rels/slideLayout10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tags" Target="../tags/tag148.xml"/><Relationship Id="rId7" Type="http://schemas.openxmlformats.org/officeDocument/2006/relationships/image" Target="../media/image27.emf"/><Relationship Id="rId2" Type="http://schemas.openxmlformats.org/officeDocument/2006/relationships/tags" Target="../tags/tag147.xml"/><Relationship Id="rId1" Type="http://schemas.openxmlformats.org/officeDocument/2006/relationships/themeOverride" Target="../theme/themeOverride13.xml"/><Relationship Id="rId6" Type="http://schemas.openxmlformats.org/officeDocument/2006/relationships/oleObject" Target="../embeddings/oleObject42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49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tags" Target="../tags/tag152.xml"/><Relationship Id="rId7" Type="http://schemas.openxmlformats.org/officeDocument/2006/relationships/image" Target="../media/image26.png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tags" Target="../tags/tag154.xml"/><Relationship Id="rId7" Type="http://schemas.openxmlformats.org/officeDocument/2006/relationships/image" Target="../media/image23.emf"/><Relationship Id="rId2" Type="http://schemas.openxmlformats.org/officeDocument/2006/relationships/tags" Target="../tags/tag153.xml"/><Relationship Id="rId1" Type="http://schemas.openxmlformats.org/officeDocument/2006/relationships/themeOverride" Target="../theme/themeOverride14.xml"/><Relationship Id="rId6" Type="http://schemas.openxmlformats.org/officeDocument/2006/relationships/oleObject" Target="../embeddings/oleObject44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55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tags" Target="../tags/tag158.xml"/><Relationship Id="rId7" Type="http://schemas.openxmlformats.org/officeDocument/2006/relationships/image" Target="../media/image26.png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emf"/><Relationship Id="rId3" Type="http://schemas.openxmlformats.org/officeDocument/2006/relationships/tags" Target="../tags/tag160.xml"/><Relationship Id="rId7" Type="http://schemas.openxmlformats.org/officeDocument/2006/relationships/oleObject" Target="../embeddings/oleObject46.bin"/><Relationship Id="rId2" Type="http://schemas.openxmlformats.org/officeDocument/2006/relationships/tags" Target="../tags/tag159.xml"/><Relationship Id="rId1" Type="http://schemas.openxmlformats.org/officeDocument/2006/relationships/themeOverride" Target="../theme/themeOverride15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62.xml"/><Relationship Id="rId4" Type="http://schemas.openxmlformats.org/officeDocument/2006/relationships/tags" Target="../tags/tag161.xml"/><Relationship Id="rId9" Type="http://schemas.openxmlformats.org/officeDocument/2006/relationships/image" Target="../media/image25.png"/></Relationships>
</file>

<file path=ppt/slideLayouts/_rels/slideLayout1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ags" Target="../tags/tag165.xml"/><Relationship Id="rId7" Type="http://schemas.openxmlformats.org/officeDocument/2006/relationships/image" Target="../media/image23.emf"/><Relationship Id="rId2" Type="http://schemas.openxmlformats.org/officeDocument/2006/relationships/tags" Target="../tags/tag164.xml"/><Relationship Id="rId1" Type="http://schemas.openxmlformats.org/officeDocument/2006/relationships/tags" Target="../tags/tag163.xml"/><Relationship Id="rId6" Type="http://schemas.openxmlformats.org/officeDocument/2006/relationships/oleObject" Target="../embeddings/oleObject47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66.xml"/></Relationships>
</file>

<file path=ppt/slideLayouts/_rels/slideLayout1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emf"/><Relationship Id="rId3" Type="http://schemas.openxmlformats.org/officeDocument/2006/relationships/tags" Target="../tags/tag168.xml"/><Relationship Id="rId7" Type="http://schemas.openxmlformats.org/officeDocument/2006/relationships/oleObject" Target="../embeddings/oleObject48.bin"/><Relationship Id="rId2" Type="http://schemas.openxmlformats.org/officeDocument/2006/relationships/tags" Target="../tags/tag167.xml"/><Relationship Id="rId1" Type="http://schemas.openxmlformats.org/officeDocument/2006/relationships/themeOverride" Target="../theme/themeOverride16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70.xml"/><Relationship Id="rId4" Type="http://schemas.openxmlformats.org/officeDocument/2006/relationships/tags" Target="../tags/tag169.xml"/><Relationship Id="rId9" Type="http://schemas.openxmlformats.org/officeDocument/2006/relationships/image" Target="../media/image25.png"/></Relationships>
</file>

<file path=ppt/slideLayouts/_rels/slideLayout1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ags" Target="../tags/tag173.xml"/><Relationship Id="rId7" Type="http://schemas.openxmlformats.org/officeDocument/2006/relationships/image" Target="../media/image23.emf"/><Relationship Id="rId2" Type="http://schemas.openxmlformats.org/officeDocument/2006/relationships/tags" Target="../tags/tag172.xml"/><Relationship Id="rId1" Type="http://schemas.openxmlformats.org/officeDocument/2006/relationships/tags" Target="../tags/tag171.xml"/><Relationship Id="rId6" Type="http://schemas.openxmlformats.org/officeDocument/2006/relationships/oleObject" Target="../embeddings/oleObject4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74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tags" Target="../tags/tag176.xml"/><Relationship Id="rId7" Type="http://schemas.openxmlformats.org/officeDocument/2006/relationships/image" Target="../media/image23.emf"/><Relationship Id="rId2" Type="http://schemas.openxmlformats.org/officeDocument/2006/relationships/tags" Target="../tags/tag175.xml"/><Relationship Id="rId1" Type="http://schemas.openxmlformats.org/officeDocument/2006/relationships/themeOverride" Target="../theme/themeOverride17.xml"/><Relationship Id="rId6" Type="http://schemas.openxmlformats.org/officeDocument/2006/relationships/oleObject" Target="../embeddings/oleObject50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77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9.xml"/><Relationship Id="rId1" Type="http://schemas.openxmlformats.org/officeDocument/2006/relationships/tags" Target="../tags/tag178.x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51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7" Type="http://schemas.openxmlformats.org/officeDocument/2006/relationships/image" Target="../media/image29.png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6" Type="http://schemas.openxmlformats.org/officeDocument/2006/relationships/image" Target="../media/image30.emf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tags" Target="../tags/tag185.xml"/><Relationship Id="rId7" Type="http://schemas.openxmlformats.org/officeDocument/2006/relationships/image" Target="../media/image23.emf"/><Relationship Id="rId2" Type="http://schemas.openxmlformats.org/officeDocument/2006/relationships/tags" Target="../tags/tag184.xml"/><Relationship Id="rId1" Type="http://schemas.openxmlformats.org/officeDocument/2006/relationships/tags" Target="../tags/tag183.xml"/><Relationship Id="rId6" Type="http://schemas.openxmlformats.org/officeDocument/2006/relationships/oleObject" Target="../embeddings/oleObject53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86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tags" Target="../tags/tag188.xml"/><Relationship Id="rId7" Type="http://schemas.openxmlformats.org/officeDocument/2006/relationships/image" Target="../media/image23.emf"/><Relationship Id="rId2" Type="http://schemas.openxmlformats.org/officeDocument/2006/relationships/tags" Target="../tags/tag187.xml"/><Relationship Id="rId1" Type="http://schemas.openxmlformats.org/officeDocument/2006/relationships/themeOverride" Target="../theme/themeOverride18.xml"/><Relationship Id="rId6" Type="http://schemas.openxmlformats.org/officeDocument/2006/relationships/oleObject" Target="../embeddings/oleObject54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89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tags" Target="../tags/tag191.xml"/><Relationship Id="rId7" Type="http://schemas.openxmlformats.org/officeDocument/2006/relationships/image" Target="../media/image23.emf"/><Relationship Id="rId2" Type="http://schemas.openxmlformats.org/officeDocument/2006/relationships/tags" Target="../tags/tag190.xml"/><Relationship Id="rId1" Type="http://schemas.openxmlformats.org/officeDocument/2006/relationships/themeOverride" Target="../theme/themeOverride19.xml"/><Relationship Id="rId6" Type="http://schemas.openxmlformats.org/officeDocument/2006/relationships/oleObject" Target="../embeddings/oleObject55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92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4.xml"/><Relationship Id="rId1" Type="http://schemas.openxmlformats.org/officeDocument/2006/relationships/tags" Target="../tags/tag193.x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56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6.xml"/><Relationship Id="rId1" Type="http://schemas.openxmlformats.org/officeDocument/2006/relationships/tags" Target="../tags/tag195.x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57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7.xml"/><Relationship Id="rId4" Type="http://schemas.openxmlformats.org/officeDocument/2006/relationships/image" Target="../media/image30.emf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8.xml"/><Relationship Id="rId4" Type="http://schemas.openxmlformats.org/officeDocument/2006/relationships/image" Target="../media/image23.emf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tags" Target="../tags/tag200.xml"/><Relationship Id="rId7" Type="http://schemas.openxmlformats.org/officeDocument/2006/relationships/image" Target="../media/image31.emf"/><Relationship Id="rId2" Type="http://schemas.openxmlformats.org/officeDocument/2006/relationships/tags" Target="../tags/tag199.xml"/><Relationship Id="rId1" Type="http://schemas.openxmlformats.org/officeDocument/2006/relationships/themeOverride" Target="../theme/themeOverride20.xml"/><Relationship Id="rId6" Type="http://schemas.openxmlformats.org/officeDocument/2006/relationships/oleObject" Target="../embeddings/oleObject60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01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tags" Target="../tags/tag203.xml"/><Relationship Id="rId2" Type="http://schemas.openxmlformats.org/officeDocument/2006/relationships/tags" Target="../tags/tag202.xml"/><Relationship Id="rId1" Type="http://schemas.openxmlformats.org/officeDocument/2006/relationships/themeOverride" Target="../theme/themeOverride21.xml"/><Relationship Id="rId6" Type="http://schemas.openxmlformats.org/officeDocument/2006/relationships/image" Target="../media/image31.emf"/><Relationship Id="rId5" Type="http://schemas.openxmlformats.org/officeDocument/2006/relationships/oleObject" Target="../embeddings/oleObject61.bin"/><Relationship Id="rId4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tags" Target="../tags/tag205.xml"/><Relationship Id="rId2" Type="http://schemas.openxmlformats.org/officeDocument/2006/relationships/tags" Target="../tags/tag204.xml"/><Relationship Id="rId1" Type="http://schemas.openxmlformats.org/officeDocument/2006/relationships/themeOverride" Target="../theme/themeOverride22.xml"/><Relationship Id="rId6" Type="http://schemas.openxmlformats.org/officeDocument/2006/relationships/image" Target="../media/image31.emf"/><Relationship Id="rId5" Type="http://schemas.openxmlformats.org/officeDocument/2006/relationships/oleObject" Target="../embeddings/oleObject62.bin"/><Relationship Id="rId4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tags" Target="../tags/tag207.xml"/><Relationship Id="rId7" Type="http://schemas.openxmlformats.org/officeDocument/2006/relationships/image" Target="../media/image24.png"/><Relationship Id="rId2" Type="http://schemas.openxmlformats.org/officeDocument/2006/relationships/tags" Target="../tags/tag206.xml"/><Relationship Id="rId1" Type="http://schemas.openxmlformats.org/officeDocument/2006/relationships/themeOverride" Target="../theme/themeOverride23.xml"/><Relationship Id="rId6" Type="http://schemas.openxmlformats.org/officeDocument/2006/relationships/image" Target="../media/image31.emf"/><Relationship Id="rId5" Type="http://schemas.openxmlformats.org/officeDocument/2006/relationships/oleObject" Target="../embeddings/oleObject63.bin"/><Relationship Id="rId4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09.xml"/><Relationship Id="rId1" Type="http://schemas.openxmlformats.org/officeDocument/2006/relationships/tags" Target="../tags/tag208.xml"/><Relationship Id="rId5" Type="http://schemas.openxmlformats.org/officeDocument/2006/relationships/image" Target="../media/image31.emf"/><Relationship Id="rId4" Type="http://schemas.openxmlformats.org/officeDocument/2006/relationships/oleObject" Target="../embeddings/oleObject64.bin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0.xml"/><Relationship Id="rId4" Type="http://schemas.openxmlformats.org/officeDocument/2006/relationships/image" Target="../media/image31.emf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1.xml"/><Relationship Id="rId4" Type="http://schemas.openxmlformats.org/officeDocument/2006/relationships/image" Target="../media/image31.emf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tags" Target="../tags/tag213.xml"/><Relationship Id="rId7" Type="http://schemas.openxmlformats.org/officeDocument/2006/relationships/image" Target="../media/image24.png"/><Relationship Id="rId2" Type="http://schemas.openxmlformats.org/officeDocument/2006/relationships/tags" Target="../tags/tag212.xml"/><Relationship Id="rId1" Type="http://schemas.openxmlformats.org/officeDocument/2006/relationships/themeOverride" Target="../theme/themeOverride24.xml"/><Relationship Id="rId6" Type="http://schemas.openxmlformats.org/officeDocument/2006/relationships/image" Target="../media/image31.emf"/><Relationship Id="rId5" Type="http://schemas.openxmlformats.org/officeDocument/2006/relationships/oleObject" Target="../embeddings/oleObject67.bin"/><Relationship Id="rId4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tags" Target="../tags/tag215.xml"/><Relationship Id="rId7" Type="http://schemas.openxmlformats.org/officeDocument/2006/relationships/image" Target="../media/image25.png"/><Relationship Id="rId2" Type="http://schemas.openxmlformats.org/officeDocument/2006/relationships/tags" Target="../tags/tag214.xml"/><Relationship Id="rId1" Type="http://schemas.openxmlformats.org/officeDocument/2006/relationships/themeOverride" Target="../theme/themeOverride25.xml"/><Relationship Id="rId6" Type="http://schemas.openxmlformats.org/officeDocument/2006/relationships/image" Target="../media/image31.emf"/><Relationship Id="rId5" Type="http://schemas.openxmlformats.org/officeDocument/2006/relationships/oleObject" Target="../embeddings/oleObject68.bin"/><Relationship Id="rId4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tags" Target="../tags/tag218.xml"/><Relationship Id="rId2" Type="http://schemas.openxmlformats.org/officeDocument/2006/relationships/tags" Target="../tags/tag217.xml"/><Relationship Id="rId1" Type="http://schemas.openxmlformats.org/officeDocument/2006/relationships/tags" Target="../tags/tag216.x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69.bin"/><Relationship Id="rId4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tags" Target="../tags/tag220.xml"/><Relationship Id="rId7" Type="http://schemas.openxmlformats.org/officeDocument/2006/relationships/image" Target="../media/image23.emf"/><Relationship Id="rId2" Type="http://schemas.openxmlformats.org/officeDocument/2006/relationships/tags" Target="../tags/tag219.xml"/><Relationship Id="rId1" Type="http://schemas.openxmlformats.org/officeDocument/2006/relationships/themeOverride" Target="../theme/themeOverride26.xml"/><Relationship Id="rId6" Type="http://schemas.openxmlformats.org/officeDocument/2006/relationships/oleObject" Target="../embeddings/oleObject70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21.xml"/></Relationships>
</file>

<file path=ppt/slideLayouts/_rels/slideLayout1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223.xml"/><Relationship Id="rId7" Type="http://schemas.openxmlformats.org/officeDocument/2006/relationships/image" Target="../media/image23.emf"/><Relationship Id="rId2" Type="http://schemas.openxmlformats.org/officeDocument/2006/relationships/tags" Target="../tags/tag222.xml"/><Relationship Id="rId1" Type="http://schemas.openxmlformats.org/officeDocument/2006/relationships/themeOverride" Target="../theme/themeOverride27.xml"/><Relationship Id="rId6" Type="http://schemas.openxmlformats.org/officeDocument/2006/relationships/oleObject" Target="../embeddings/oleObject71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24.xml"/></Relationships>
</file>

<file path=ppt/slideLayouts/_rels/slideLayout1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emf"/><Relationship Id="rId3" Type="http://schemas.openxmlformats.org/officeDocument/2006/relationships/tags" Target="../tags/tag226.xml"/><Relationship Id="rId7" Type="http://schemas.openxmlformats.org/officeDocument/2006/relationships/oleObject" Target="../embeddings/oleObject72.bin"/><Relationship Id="rId2" Type="http://schemas.openxmlformats.org/officeDocument/2006/relationships/tags" Target="../tags/tag225.xml"/><Relationship Id="rId1" Type="http://schemas.openxmlformats.org/officeDocument/2006/relationships/themeOverride" Target="../theme/themeOverride28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28.xml"/><Relationship Id="rId4" Type="http://schemas.openxmlformats.org/officeDocument/2006/relationships/tags" Target="../tags/tag227.xml"/><Relationship Id="rId9" Type="http://schemas.openxmlformats.org/officeDocument/2006/relationships/image" Target="../media/image24.png"/></Relationships>
</file>

<file path=ppt/slideLayouts/_rels/slideLayout1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230.xml"/><Relationship Id="rId7" Type="http://schemas.openxmlformats.org/officeDocument/2006/relationships/image" Target="../media/image23.emf"/><Relationship Id="rId2" Type="http://schemas.openxmlformats.org/officeDocument/2006/relationships/tags" Target="../tags/tag229.xml"/><Relationship Id="rId1" Type="http://schemas.openxmlformats.org/officeDocument/2006/relationships/themeOverride" Target="../theme/themeOverride29.xml"/><Relationship Id="rId6" Type="http://schemas.openxmlformats.org/officeDocument/2006/relationships/oleObject" Target="../embeddings/oleObject73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3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233.xml"/><Relationship Id="rId7" Type="http://schemas.openxmlformats.org/officeDocument/2006/relationships/image" Target="../media/image23.emf"/><Relationship Id="rId2" Type="http://schemas.openxmlformats.org/officeDocument/2006/relationships/tags" Target="../tags/tag232.xml"/><Relationship Id="rId1" Type="http://schemas.openxmlformats.org/officeDocument/2006/relationships/themeOverride" Target="../theme/themeOverride30.xml"/><Relationship Id="rId6" Type="http://schemas.openxmlformats.org/officeDocument/2006/relationships/oleObject" Target="../embeddings/oleObject74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34.xml"/></Relationships>
</file>

<file path=ppt/slideLayouts/_rels/slideLayout1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236.xml"/><Relationship Id="rId7" Type="http://schemas.openxmlformats.org/officeDocument/2006/relationships/image" Target="../media/image23.emf"/><Relationship Id="rId2" Type="http://schemas.openxmlformats.org/officeDocument/2006/relationships/tags" Target="../tags/tag235.xml"/><Relationship Id="rId1" Type="http://schemas.openxmlformats.org/officeDocument/2006/relationships/themeOverride" Target="../theme/themeOverride31.xml"/><Relationship Id="rId6" Type="http://schemas.openxmlformats.org/officeDocument/2006/relationships/oleObject" Target="../embeddings/oleObject75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37.xml"/></Relationships>
</file>

<file path=ppt/slideLayouts/_rels/slideLayout1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tags" Target="../tags/tag239.xml"/><Relationship Id="rId7" Type="http://schemas.openxmlformats.org/officeDocument/2006/relationships/image" Target="../media/image23.emf"/><Relationship Id="rId2" Type="http://schemas.openxmlformats.org/officeDocument/2006/relationships/tags" Target="../tags/tag238.xml"/><Relationship Id="rId1" Type="http://schemas.openxmlformats.org/officeDocument/2006/relationships/themeOverride" Target="../theme/themeOverride32.xml"/><Relationship Id="rId6" Type="http://schemas.openxmlformats.org/officeDocument/2006/relationships/oleObject" Target="../embeddings/oleObject76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40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tags" Target="../tags/tag243.xml"/><Relationship Id="rId7" Type="http://schemas.openxmlformats.org/officeDocument/2006/relationships/image" Target="../media/image26.png"/><Relationship Id="rId2" Type="http://schemas.openxmlformats.org/officeDocument/2006/relationships/tags" Target="../tags/tag242.xml"/><Relationship Id="rId1" Type="http://schemas.openxmlformats.org/officeDocument/2006/relationships/tags" Target="../tags/tag241.x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77.bin"/><Relationship Id="rId4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tags" Target="../tags/tag245.xml"/><Relationship Id="rId7" Type="http://schemas.openxmlformats.org/officeDocument/2006/relationships/image" Target="../media/image27.emf"/><Relationship Id="rId2" Type="http://schemas.openxmlformats.org/officeDocument/2006/relationships/tags" Target="../tags/tag244.xml"/><Relationship Id="rId1" Type="http://schemas.openxmlformats.org/officeDocument/2006/relationships/themeOverride" Target="../theme/themeOverride33.xml"/><Relationship Id="rId6" Type="http://schemas.openxmlformats.org/officeDocument/2006/relationships/oleObject" Target="../embeddings/oleObject78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46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tags" Target="../tags/tag249.xml"/><Relationship Id="rId7" Type="http://schemas.openxmlformats.org/officeDocument/2006/relationships/image" Target="../media/image26.png"/><Relationship Id="rId2" Type="http://schemas.openxmlformats.org/officeDocument/2006/relationships/tags" Target="../tags/tag248.xml"/><Relationship Id="rId1" Type="http://schemas.openxmlformats.org/officeDocument/2006/relationships/tags" Target="../tags/tag247.x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79.bin"/><Relationship Id="rId4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emf"/><Relationship Id="rId3" Type="http://schemas.openxmlformats.org/officeDocument/2006/relationships/tags" Target="../tags/tag251.xml"/><Relationship Id="rId7" Type="http://schemas.openxmlformats.org/officeDocument/2006/relationships/oleObject" Target="../embeddings/oleObject80.bin"/><Relationship Id="rId2" Type="http://schemas.openxmlformats.org/officeDocument/2006/relationships/tags" Target="../tags/tag250.xml"/><Relationship Id="rId1" Type="http://schemas.openxmlformats.org/officeDocument/2006/relationships/themeOverride" Target="../theme/themeOverride34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53.xml"/><Relationship Id="rId4" Type="http://schemas.openxmlformats.org/officeDocument/2006/relationships/tags" Target="../tags/tag252.xml"/><Relationship Id="rId9" Type="http://schemas.openxmlformats.org/officeDocument/2006/relationships/image" Target="../media/image25.png"/></Relationships>
</file>

<file path=ppt/slideLayouts/_rels/slideLayout1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ags" Target="../tags/tag256.xml"/><Relationship Id="rId7" Type="http://schemas.openxmlformats.org/officeDocument/2006/relationships/image" Target="../media/image23.emf"/><Relationship Id="rId2" Type="http://schemas.openxmlformats.org/officeDocument/2006/relationships/tags" Target="../tags/tag255.xml"/><Relationship Id="rId1" Type="http://schemas.openxmlformats.org/officeDocument/2006/relationships/tags" Target="../tags/tag254.xml"/><Relationship Id="rId6" Type="http://schemas.openxmlformats.org/officeDocument/2006/relationships/oleObject" Target="../embeddings/oleObject81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57.xml"/></Relationships>
</file>

<file path=ppt/slideLayouts/_rels/slideLayout1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emf"/><Relationship Id="rId3" Type="http://schemas.openxmlformats.org/officeDocument/2006/relationships/tags" Target="../tags/tag259.xml"/><Relationship Id="rId7" Type="http://schemas.openxmlformats.org/officeDocument/2006/relationships/oleObject" Target="../embeddings/oleObject82.bin"/><Relationship Id="rId2" Type="http://schemas.openxmlformats.org/officeDocument/2006/relationships/tags" Target="../tags/tag258.xml"/><Relationship Id="rId1" Type="http://schemas.openxmlformats.org/officeDocument/2006/relationships/themeOverride" Target="../theme/themeOverride35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61.xml"/><Relationship Id="rId4" Type="http://schemas.openxmlformats.org/officeDocument/2006/relationships/tags" Target="../tags/tag260.xml"/><Relationship Id="rId9" Type="http://schemas.openxmlformats.org/officeDocument/2006/relationships/image" Target="../media/image25.png"/></Relationships>
</file>

<file path=ppt/slideLayouts/_rels/slideLayout1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ags" Target="../tags/tag264.xml"/><Relationship Id="rId7" Type="http://schemas.openxmlformats.org/officeDocument/2006/relationships/image" Target="../media/image23.emf"/><Relationship Id="rId2" Type="http://schemas.openxmlformats.org/officeDocument/2006/relationships/tags" Target="../tags/tag263.xml"/><Relationship Id="rId1" Type="http://schemas.openxmlformats.org/officeDocument/2006/relationships/tags" Target="../tags/tag262.xml"/><Relationship Id="rId6" Type="http://schemas.openxmlformats.org/officeDocument/2006/relationships/oleObject" Target="../embeddings/oleObject83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65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tags" Target="../tags/tag267.xml"/><Relationship Id="rId7" Type="http://schemas.openxmlformats.org/officeDocument/2006/relationships/image" Target="../media/image23.emf"/><Relationship Id="rId2" Type="http://schemas.openxmlformats.org/officeDocument/2006/relationships/tags" Target="../tags/tag266.xml"/><Relationship Id="rId1" Type="http://schemas.openxmlformats.org/officeDocument/2006/relationships/themeOverride" Target="../theme/themeOverride36.xml"/><Relationship Id="rId6" Type="http://schemas.openxmlformats.org/officeDocument/2006/relationships/oleObject" Target="../embeddings/oleObject84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68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tags" Target="../tags/tag271.xml"/><Relationship Id="rId7" Type="http://schemas.openxmlformats.org/officeDocument/2006/relationships/image" Target="../media/image29.png"/><Relationship Id="rId2" Type="http://schemas.openxmlformats.org/officeDocument/2006/relationships/tags" Target="../tags/tag270.xml"/><Relationship Id="rId1" Type="http://schemas.openxmlformats.org/officeDocument/2006/relationships/tags" Target="../tags/tag269.xml"/><Relationship Id="rId6" Type="http://schemas.openxmlformats.org/officeDocument/2006/relationships/image" Target="../media/image27.emf"/><Relationship Id="rId5" Type="http://schemas.openxmlformats.org/officeDocument/2006/relationships/oleObject" Target="../embeddings/oleObject85.bin"/><Relationship Id="rId4" Type="http://schemas.openxmlformats.org/officeDocument/2006/relationships/slideMaster" Target="../slideMasters/slideMaster3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tags" Target="../tags/tag273.xml"/><Relationship Id="rId7" Type="http://schemas.openxmlformats.org/officeDocument/2006/relationships/image" Target="../media/image23.emf"/><Relationship Id="rId2" Type="http://schemas.openxmlformats.org/officeDocument/2006/relationships/tags" Target="../tags/tag272.xml"/><Relationship Id="rId1" Type="http://schemas.openxmlformats.org/officeDocument/2006/relationships/themeOverride" Target="../theme/themeOverride37.xml"/><Relationship Id="rId6" Type="http://schemas.openxmlformats.org/officeDocument/2006/relationships/oleObject" Target="../embeddings/oleObject86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74.xml"/></Relationships>
</file>

<file path=ppt/slideLayouts/_rels/slideLayout1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276.xml"/><Relationship Id="rId7" Type="http://schemas.openxmlformats.org/officeDocument/2006/relationships/image" Target="../media/image23.emf"/><Relationship Id="rId2" Type="http://schemas.openxmlformats.org/officeDocument/2006/relationships/tags" Target="../tags/tag275.xml"/><Relationship Id="rId1" Type="http://schemas.openxmlformats.org/officeDocument/2006/relationships/themeOverride" Target="../theme/themeOverride38.xml"/><Relationship Id="rId6" Type="http://schemas.openxmlformats.org/officeDocument/2006/relationships/oleObject" Target="../embeddings/oleObject87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77.xml"/></Relationships>
</file>

<file path=ppt/slideLayouts/_rels/slideLayout1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emf"/><Relationship Id="rId3" Type="http://schemas.openxmlformats.org/officeDocument/2006/relationships/tags" Target="../tags/tag279.xml"/><Relationship Id="rId7" Type="http://schemas.openxmlformats.org/officeDocument/2006/relationships/oleObject" Target="../embeddings/oleObject88.bin"/><Relationship Id="rId2" Type="http://schemas.openxmlformats.org/officeDocument/2006/relationships/tags" Target="../tags/tag278.xml"/><Relationship Id="rId1" Type="http://schemas.openxmlformats.org/officeDocument/2006/relationships/themeOverride" Target="../theme/themeOverride39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81.xml"/><Relationship Id="rId4" Type="http://schemas.openxmlformats.org/officeDocument/2006/relationships/tags" Target="../tags/tag280.xml"/><Relationship Id="rId9" Type="http://schemas.openxmlformats.org/officeDocument/2006/relationships/image" Target="../media/image24.png"/></Relationships>
</file>

<file path=ppt/slideLayouts/_rels/slideLayout1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emf"/><Relationship Id="rId3" Type="http://schemas.openxmlformats.org/officeDocument/2006/relationships/tags" Target="../tags/tag283.xml"/><Relationship Id="rId7" Type="http://schemas.openxmlformats.org/officeDocument/2006/relationships/oleObject" Target="../embeddings/oleObject89.bin"/><Relationship Id="rId2" Type="http://schemas.openxmlformats.org/officeDocument/2006/relationships/tags" Target="../tags/tag282.xml"/><Relationship Id="rId1" Type="http://schemas.openxmlformats.org/officeDocument/2006/relationships/themeOverride" Target="../theme/themeOverride40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85.xml"/><Relationship Id="rId4" Type="http://schemas.openxmlformats.org/officeDocument/2006/relationships/tags" Target="../tags/tag284.xml"/><Relationship Id="rId9" Type="http://schemas.openxmlformats.org/officeDocument/2006/relationships/image" Target="../media/image24.png"/></Relationships>
</file>

<file path=ppt/slideLayouts/_rels/slideLayout1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287.xml"/><Relationship Id="rId7" Type="http://schemas.openxmlformats.org/officeDocument/2006/relationships/image" Target="../media/image23.emf"/><Relationship Id="rId2" Type="http://schemas.openxmlformats.org/officeDocument/2006/relationships/tags" Target="../tags/tag286.xml"/><Relationship Id="rId1" Type="http://schemas.openxmlformats.org/officeDocument/2006/relationships/themeOverride" Target="../theme/themeOverride41.xml"/><Relationship Id="rId6" Type="http://schemas.openxmlformats.org/officeDocument/2006/relationships/oleObject" Target="../embeddings/oleObject90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88.xml"/></Relationships>
</file>

<file path=ppt/slideLayouts/_rels/slideLayout1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290.xml"/><Relationship Id="rId7" Type="http://schemas.openxmlformats.org/officeDocument/2006/relationships/image" Target="../media/image23.emf"/><Relationship Id="rId2" Type="http://schemas.openxmlformats.org/officeDocument/2006/relationships/tags" Target="../tags/tag289.xml"/><Relationship Id="rId1" Type="http://schemas.openxmlformats.org/officeDocument/2006/relationships/themeOverride" Target="../theme/themeOverride42.xml"/><Relationship Id="rId6" Type="http://schemas.openxmlformats.org/officeDocument/2006/relationships/oleObject" Target="../embeddings/oleObject91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91.xml"/></Relationships>
</file>

<file path=ppt/slideLayouts/_rels/slideLayout1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293.xml"/><Relationship Id="rId7" Type="http://schemas.openxmlformats.org/officeDocument/2006/relationships/image" Target="../media/image23.emf"/><Relationship Id="rId2" Type="http://schemas.openxmlformats.org/officeDocument/2006/relationships/tags" Target="../tags/tag292.xml"/><Relationship Id="rId1" Type="http://schemas.openxmlformats.org/officeDocument/2006/relationships/themeOverride" Target="../theme/themeOverride43.xml"/><Relationship Id="rId6" Type="http://schemas.openxmlformats.org/officeDocument/2006/relationships/oleObject" Target="../embeddings/oleObject92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94.xml"/></Relationships>
</file>

<file path=ppt/slideLayouts/_rels/slideLayout1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tags" Target="../tags/tag296.xml"/><Relationship Id="rId7" Type="http://schemas.openxmlformats.org/officeDocument/2006/relationships/image" Target="../media/image27.emf"/><Relationship Id="rId2" Type="http://schemas.openxmlformats.org/officeDocument/2006/relationships/tags" Target="../tags/tag295.xml"/><Relationship Id="rId1" Type="http://schemas.openxmlformats.org/officeDocument/2006/relationships/themeOverride" Target="../theme/themeOverride44.xml"/><Relationship Id="rId6" Type="http://schemas.openxmlformats.org/officeDocument/2006/relationships/oleObject" Target="../embeddings/oleObject93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97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tags" Target="../tags/tag300.xml"/><Relationship Id="rId7" Type="http://schemas.openxmlformats.org/officeDocument/2006/relationships/image" Target="../media/image26.png"/><Relationship Id="rId2" Type="http://schemas.openxmlformats.org/officeDocument/2006/relationships/tags" Target="../tags/tag299.xml"/><Relationship Id="rId1" Type="http://schemas.openxmlformats.org/officeDocument/2006/relationships/tags" Target="../tags/tag298.x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94.bin"/><Relationship Id="rId4" Type="http://schemas.openxmlformats.org/officeDocument/2006/relationships/slideMaster" Target="../slideMasters/slideMaster3.xml"/></Relationships>
</file>

<file path=ppt/slideLayouts/_rels/slideLayout1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tags" Target="../tags/tag302.xml"/><Relationship Id="rId7" Type="http://schemas.openxmlformats.org/officeDocument/2006/relationships/image" Target="../media/image23.emf"/><Relationship Id="rId2" Type="http://schemas.openxmlformats.org/officeDocument/2006/relationships/tags" Target="../tags/tag301.xml"/><Relationship Id="rId1" Type="http://schemas.openxmlformats.org/officeDocument/2006/relationships/themeOverride" Target="../theme/themeOverride45.xml"/><Relationship Id="rId6" Type="http://schemas.openxmlformats.org/officeDocument/2006/relationships/oleObject" Target="../embeddings/oleObject95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03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tags" Target="../tags/tag306.xml"/><Relationship Id="rId7" Type="http://schemas.openxmlformats.org/officeDocument/2006/relationships/image" Target="../media/image26.png"/><Relationship Id="rId2" Type="http://schemas.openxmlformats.org/officeDocument/2006/relationships/tags" Target="../tags/tag305.xml"/><Relationship Id="rId1" Type="http://schemas.openxmlformats.org/officeDocument/2006/relationships/tags" Target="../tags/tag304.x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96.bin"/><Relationship Id="rId4" Type="http://schemas.openxmlformats.org/officeDocument/2006/relationships/slideMaster" Target="../slideMasters/slideMaster3.xml"/></Relationships>
</file>

<file path=ppt/slideLayouts/_rels/slideLayout1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emf"/><Relationship Id="rId3" Type="http://schemas.openxmlformats.org/officeDocument/2006/relationships/tags" Target="../tags/tag308.xml"/><Relationship Id="rId7" Type="http://schemas.openxmlformats.org/officeDocument/2006/relationships/oleObject" Target="../embeddings/oleObject97.bin"/><Relationship Id="rId2" Type="http://schemas.openxmlformats.org/officeDocument/2006/relationships/tags" Target="../tags/tag307.xml"/><Relationship Id="rId1" Type="http://schemas.openxmlformats.org/officeDocument/2006/relationships/themeOverride" Target="../theme/themeOverride46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310.xml"/><Relationship Id="rId4" Type="http://schemas.openxmlformats.org/officeDocument/2006/relationships/tags" Target="../tags/tag309.xml"/><Relationship Id="rId9" Type="http://schemas.openxmlformats.org/officeDocument/2006/relationships/image" Target="../media/image25.png"/></Relationships>
</file>

<file path=ppt/slideLayouts/_rels/slideLayout1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ags" Target="../tags/tag313.xml"/><Relationship Id="rId7" Type="http://schemas.openxmlformats.org/officeDocument/2006/relationships/image" Target="../media/image23.emf"/><Relationship Id="rId2" Type="http://schemas.openxmlformats.org/officeDocument/2006/relationships/tags" Target="../tags/tag312.xml"/><Relationship Id="rId1" Type="http://schemas.openxmlformats.org/officeDocument/2006/relationships/tags" Target="../tags/tag311.xml"/><Relationship Id="rId6" Type="http://schemas.openxmlformats.org/officeDocument/2006/relationships/oleObject" Target="../embeddings/oleObject98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14.xml"/></Relationships>
</file>

<file path=ppt/slideLayouts/_rels/slideLayout1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emf"/><Relationship Id="rId3" Type="http://schemas.openxmlformats.org/officeDocument/2006/relationships/tags" Target="../tags/tag316.xml"/><Relationship Id="rId7" Type="http://schemas.openxmlformats.org/officeDocument/2006/relationships/oleObject" Target="../embeddings/oleObject99.bin"/><Relationship Id="rId2" Type="http://schemas.openxmlformats.org/officeDocument/2006/relationships/tags" Target="../tags/tag315.xml"/><Relationship Id="rId1" Type="http://schemas.openxmlformats.org/officeDocument/2006/relationships/themeOverride" Target="../theme/themeOverride47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318.xml"/><Relationship Id="rId4" Type="http://schemas.openxmlformats.org/officeDocument/2006/relationships/tags" Target="../tags/tag317.xml"/><Relationship Id="rId9" Type="http://schemas.openxmlformats.org/officeDocument/2006/relationships/image" Target="../media/image25.png"/></Relationships>
</file>

<file path=ppt/slideLayouts/_rels/slideLayout1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ags" Target="../tags/tag321.xml"/><Relationship Id="rId7" Type="http://schemas.openxmlformats.org/officeDocument/2006/relationships/image" Target="../media/image23.emf"/><Relationship Id="rId2" Type="http://schemas.openxmlformats.org/officeDocument/2006/relationships/tags" Target="../tags/tag320.xml"/><Relationship Id="rId1" Type="http://schemas.openxmlformats.org/officeDocument/2006/relationships/tags" Target="../tags/tag319.xml"/><Relationship Id="rId6" Type="http://schemas.openxmlformats.org/officeDocument/2006/relationships/oleObject" Target="../embeddings/oleObject100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22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tags" Target="../tags/tag324.xml"/><Relationship Id="rId7" Type="http://schemas.openxmlformats.org/officeDocument/2006/relationships/image" Target="../media/image23.emf"/><Relationship Id="rId2" Type="http://schemas.openxmlformats.org/officeDocument/2006/relationships/tags" Target="../tags/tag323.xml"/><Relationship Id="rId1" Type="http://schemas.openxmlformats.org/officeDocument/2006/relationships/themeOverride" Target="../theme/themeOverride48.xml"/><Relationship Id="rId6" Type="http://schemas.openxmlformats.org/officeDocument/2006/relationships/oleObject" Target="../embeddings/oleObject101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25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tags" Target="../tags/tag328.xml"/><Relationship Id="rId7" Type="http://schemas.openxmlformats.org/officeDocument/2006/relationships/image" Target="../media/image29.png"/><Relationship Id="rId2" Type="http://schemas.openxmlformats.org/officeDocument/2006/relationships/tags" Target="../tags/tag327.xml"/><Relationship Id="rId1" Type="http://schemas.openxmlformats.org/officeDocument/2006/relationships/tags" Target="../tags/tag326.xml"/><Relationship Id="rId6" Type="http://schemas.openxmlformats.org/officeDocument/2006/relationships/image" Target="../media/image30.emf"/><Relationship Id="rId5" Type="http://schemas.openxmlformats.org/officeDocument/2006/relationships/oleObject" Target="../embeddings/oleObject102.bin"/><Relationship Id="rId4" Type="http://schemas.openxmlformats.org/officeDocument/2006/relationships/slideMaster" Target="../slideMasters/slideMaster3.xml"/></Relationships>
</file>

<file path=ppt/slideLayouts/_rels/slideLayout1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tags" Target="../tags/tag330.xml"/><Relationship Id="rId7" Type="http://schemas.openxmlformats.org/officeDocument/2006/relationships/image" Target="../media/image23.emf"/><Relationship Id="rId2" Type="http://schemas.openxmlformats.org/officeDocument/2006/relationships/tags" Target="../tags/tag329.xml"/><Relationship Id="rId1" Type="http://schemas.openxmlformats.org/officeDocument/2006/relationships/themeOverride" Target="../theme/themeOverride49.xml"/><Relationship Id="rId6" Type="http://schemas.openxmlformats.org/officeDocument/2006/relationships/oleObject" Target="../embeddings/oleObject103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3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tags" Target="../tags/tag333.xml"/><Relationship Id="rId7" Type="http://schemas.openxmlformats.org/officeDocument/2006/relationships/image" Target="../media/image23.emf"/><Relationship Id="rId2" Type="http://schemas.openxmlformats.org/officeDocument/2006/relationships/tags" Target="../tags/tag332.xml"/><Relationship Id="rId1" Type="http://schemas.openxmlformats.org/officeDocument/2006/relationships/themeOverride" Target="../theme/themeOverride50.xml"/><Relationship Id="rId6" Type="http://schemas.openxmlformats.org/officeDocument/2006/relationships/oleObject" Target="../embeddings/oleObject104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34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tags" Target="../tags/tag336.xml"/><Relationship Id="rId7" Type="http://schemas.openxmlformats.org/officeDocument/2006/relationships/image" Target="../media/image31.emf"/><Relationship Id="rId2" Type="http://schemas.openxmlformats.org/officeDocument/2006/relationships/tags" Target="../tags/tag335.xml"/><Relationship Id="rId1" Type="http://schemas.openxmlformats.org/officeDocument/2006/relationships/themeOverride" Target="../theme/themeOverride51.xml"/><Relationship Id="rId6" Type="http://schemas.openxmlformats.org/officeDocument/2006/relationships/oleObject" Target="../embeddings/oleObject105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37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tags" Target="../tags/tag339.xml"/><Relationship Id="rId2" Type="http://schemas.openxmlformats.org/officeDocument/2006/relationships/tags" Target="../tags/tag338.xml"/><Relationship Id="rId1" Type="http://schemas.openxmlformats.org/officeDocument/2006/relationships/themeOverride" Target="../theme/themeOverride52.xml"/><Relationship Id="rId6" Type="http://schemas.openxmlformats.org/officeDocument/2006/relationships/image" Target="../media/image31.emf"/><Relationship Id="rId5" Type="http://schemas.openxmlformats.org/officeDocument/2006/relationships/oleObject" Target="../embeddings/oleObject106.bin"/><Relationship Id="rId4" Type="http://schemas.openxmlformats.org/officeDocument/2006/relationships/slideMaster" Target="../slideMasters/slideMaster3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tags" Target="../tags/tag341.xml"/><Relationship Id="rId2" Type="http://schemas.openxmlformats.org/officeDocument/2006/relationships/tags" Target="../tags/tag340.xml"/><Relationship Id="rId1" Type="http://schemas.openxmlformats.org/officeDocument/2006/relationships/themeOverride" Target="../theme/themeOverride53.xml"/><Relationship Id="rId6" Type="http://schemas.openxmlformats.org/officeDocument/2006/relationships/image" Target="../media/image31.emf"/><Relationship Id="rId5" Type="http://schemas.openxmlformats.org/officeDocument/2006/relationships/oleObject" Target="../embeddings/oleObject107.bin"/><Relationship Id="rId4" Type="http://schemas.openxmlformats.org/officeDocument/2006/relationships/slideMaster" Target="../slideMasters/slideMaster3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tags" Target="../tags/tag343.xml"/><Relationship Id="rId7" Type="http://schemas.openxmlformats.org/officeDocument/2006/relationships/image" Target="../media/image24.png"/><Relationship Id="rId2" Type="http://schemas.openxmlformats.org/officeDocument/2006/relationships/tags" Target="../tags/tag342.xml"/><Relationship Id="rId1" Type="http://schemas.openxmlformats.org/officeDocument/2006/relationships/themeOverride" Target="../theme/themeOverride54.xml"/><Relationship Id="rId6" Type="http://schemas.openxmlformats.org/officeDocument/2006/relationships/image" Target="../media/image31.emf"/><Relationship Id="rId5" Type="http://schemas.openxmlformats.org/officeDocument/2006/relationships/oleObject" Target="../embeddings/oleObject108.bin"/><Relationship Id="rId4" Type="http://schemas.openxmlformats.org/officeDocument/2006/relationships/slideMaster" Target="../slideMasters/slideMaster3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tags" Target="../tags/tag345.xml"/><Relationship Id="rId7" Type="http://schemas.openxmlformats.org/officeDocument/2006/relationships/image" Target="../media/image24.png"/><Relationship Id="rId2" Type="http://schemas.openxmlformats.org/officeDocument/2006/relationships/tags" Target="../tags/tag344.xml"/><Relationship Id="rId1" Type="http://schemas.openxmlformats.org/officeDocument/2006/relationships/themeOverride" Target="../theme/themeOverride55.xml"/><Relationship Id="rId6" Type="http://schemas.openxmlformats.org/officeDocument/2006/relationships/image" Target="../media/image31.emf"/><Relationship Id="rId5" Type="http://schemas.openxmlformats.org/officeDocument/2006/relationships/oleObject" Target="../embeddings/oleObject109.bin"/><Relationship Id="rId4" Type="http://schemas.openxmlformats.org/officeDocument/2006/relationships/slideMaster" Target="../slideMasters/slideMaster3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tags" Target="../tags/tag347.xml"/><Relationship Id="rId7" Type="http://schemas.openxmlformats.org/officeDocument/2006/relationships/image" Target="../media/image25.png"/><Relationship Id="rId2" Type="http://schemas.openxmlformats.org/officeDocument/2006/relationships/tags" Target="../tags/tag346.xml"/><Relationship Id="rId1" Type="http://schemas.openxmlformats.org/officeDocument/2006/relationships/themeOverride" Target="../theme/themeOverride56.xml"/><Relationship Id="rId6" Type="http://schemas.openxmlformats.org/officeDocument/2006/relationships/image" Target="../media/image31.emf"/><Relationship Id="rId5" Type="http://schemas.openxmlformats.org/officeDocument/2006/relationships/oleObject" Target="../embeddings/oleObject110.bin"/><Relationship Id="rId4" Type="http://schemas.openxmlformats.org/officeDocument/2006/relationships/slideMaster" Target="../slideMasters/slideMaster3.xml"/></Relationships>
</file>

<file path=ppt/slideLayouts/_rels/slideLayout17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50.xml"/><Relationship Id="rId7" Type="http://schemas.openxmlformats.org/officeDocument/2006/relationships/tags" Target="../tags/tag354.xml"/><Relationship Id="rId2" Type="http://schemas.openxmlformats.org/officeDocument/2006/relationships/tags" Target="../tags/tag349.xml"/><Relationship Id="rId1" Type="http://schemas.openxmlformats.org/officeDocument/2006/relationships/tags" Target="../tags/tag348.xml"/><Relationship Id="rId6" Type="http://schemas.openxmlformats.org/officeDocument/2006/relationships/tags" Target="../tags/tag353.xml"/><Relationship Id="rId5" Type="http://schemas.openxmlformats.org/officeDocument/2006/relationships/tags" Target="../tags/tag352.xml"/><Relationship Id="rId10" Type="http://schemas.openxmlformats.org/officeDocument/2006/relationships/image" Target="../media/image21.emf"/><Relationship Id="rId4" Type="http://schemas.openxmlformats.org/officeDocument/2006/relationships/tags" Target="../tags/tag351.xml"/><Relationship Id="rId9" Type="http://schemas.openxmlformats.org/officeDocument/2006/relationships/oleObject" Target="../embeddings/oleObject111.bin"/></Relationships>
</file>

<file path=ppt/slideLayouts/_rels/slideLayout17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2.bin"/><Relationship Id="rId3" Type="http://schemas.openxmlformats.org/officeDocument/2006/relationships/tags" Target="../tags/tag357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356.xml"/><Relationship Id="rId1" Type="http://schemas.openxmlformats.org/officeDocument/2006/relationships/tags" Target="../tags/tag355.xml"/><Relationship Id="rId6" Type="http://schemas.openxmlformats.org/officeDocument/2006/relationships/tags" Target="../tags/tag360.xml"/><Relationship Id="rId5" Type="http://schemas.openxmlformats.org/officeDocument/2006/relationships/tags" Target="../tags/tag359.xml"/><Relationship Id="rId4" Type="http://schemas.openxmlformats.org/officeDocument/2006/relationships/tags" Target="../tags/tag358.xml"/><Relationship Id="rId9" Type="http://schemas.openxmlformats.org/officeDocument/2006/relationships/image" Target="../media/image22.emf"/></Relationships>
</file>

<file path=ppt/slideLayouts/_rels/slideLayout17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3.bin"/><Relationship Id="rId3" Type="http://schemas.openxmlformats.org/officeDocument/2006/relationships/tags" Target="../tags/tag363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362.xml"/><Relationship Id="rId1" Type="http://schemas.openxmlformats.org/officeDocument/2006/relationships/tags" Target="../tags/tag361.xml"/><Relationship Id="rId6" Type="http://schemas.openxmlformats.org/officeDocument/2006/relationships/tags" Target="../tags/tag366.xml"/><Relationship Id="rId5" Type="http://schemas.openxmlformats.org/officeDocument/2006/relationships/tags" Target="../tags/tag365.xml"/><Relationship Id="rId4" Type="http://schemas.openxmlformats.org/officeDocument/2006/relationships/tags" Target="../tags/tag364.xml"/><Relationship Id="rId9" Type="http://schemas.openxmlformats.org/officeDocument/2006/relationships/image" Target="../media/image22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8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4.bin"/><Relationship Id="rId3" Type="http://schemas.openxmlformats.org/officeDocument/2006/relationships/tags" Target="../tags/tag369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368.xml"/><Relationship Id="rId1" Type="http://schemas.openxmlformats.org/officeDocument/2006/relationships/tags" Target="../tags/tag367.xml"/><Relationship Id="rId6" Type="http://schemas.openxmlformats.org/officeDocument/2006/relationships/tags" Target="../tags/tag372.xml"/><Relationship Id="rId5" Type="http://schemas.openxmlformats.org/officeDocument/2006/relationships/tags" Target="../tags/tag371.xml"/><Relationship Id="rId4" Type="http://schemas.openxmlformats.org/officeDocument/2006/relationships/tags" Target="../tags/tag370.xml"/><Relationship Id="rId9" Type="http://schemas.openxmlformats.org/officeDocument/2006/relationships/image" Target="../media/image22.emf"/></Relationships>
</file>

<file path=ppt/slideLayouts/_rels/slideLayout18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75.xml"/><Relationship Id="rId7" Type="http://schemas.openxmlformats.org/officeDocument/2006/relationships/tags" Target="../tags/tag379.xml"/><Relationship Id="rId2" Type="http://schemas.openxmlformats.org/officeDocument/2006/relationships/tags" Target="../tags/tag374.xml"/><Relationship Id="rId1" Type="http://schemas.openxmlformats.org/officeDocument/2006/relationships/tags" Target="../tags/tag373.xml"/><Relationship Id="rId6" Type="http://schemas.openxmlformats.org/officeDocument/2006/relationships/tags" Target="../tags/tag378.xml"/><Relationship Id="rId5" Type="http://schemas.openxmlformats.org/officeDocument/2006/relationships/tags" Target="../tags/tag377.xml"/><Relationship Id="rId10" Type="http://schemas.openxmlformats.org/officeDocument/2006/relationships/image" Target="../media/image22.emf"/><Relationship Id="rId4" Type="http://schemas.openxmlformats.org/officeDocument/2006/relationships/tags" Target="../tags/tag376.xml"/><Relationship Id="rId9" Type="http://schemas.openxmlformats.org/officeDocument/2006/relationships/oleObject" Target="../embeddings/oleObject115.bin"/></Relationships>
</file>

<file path=ppt/slideLayouts/_rels/slideLayout182.xml.rels><?xml version="1.0" encoding="UTF-8" standalone="yes"?>
<Relationships xmlns="http://schemas.openxmlformats.org/package/2006/relationships"><Relationship Id="rId8" Type="http://schemas.openxmlformats.org/officeDocument/2006/relationships/tags" Target="../tags/tag387.xml"/><Relationship Id="rId3" Type="http://schemas.openxmlformats.org/officeDocument/2006/relationships/tags" Target="../tags/tag382.xml"/><Relationship Id="rId7" Type="http://schemas.openxmlformats.org/officeDocument/2006/relationships/tags" Target="../tags/tag386.xml"/><Relationship Id="rId2" Type="http://schemas.openxmlformats.org/officeDocument/2006/relationships/tags" Target="../tags/tag381.xml"/><Relationship Id="rId1" Type="http://schemas.openxmlformats.org/officeDocument/2006/relationships/tags" Target="../tags/tag380.xml"/><Relationship Id="rId6" Type="http://schemas.openxmlformats.org/officeDocument/2006/relationships/tags" Target="../tags/tag385.xml"/><Relationship Id="rId11" Type="http://schemas.openxmlformats.org/officeDocument/2006/relationships/image" Target="../media/image21.emf"/><Relationship Id="rId5" Type="http://schemas.openxmlformats.org/officeDocument/2006/relationships/tags" Target="../tags/tag384.xml"/><Relationship Id="rId10" Type="http://schemas.openxmlformats.org/officeDocument/2006/relationships/oleObject" Target="../embeddings/oleObject116.bin"/><Relationship Id="rId4" Type="http://schemas.openxmlformats.org/officeDocument/2006/relationships/tags" Target="../tags/tag383.xml"/><Relationship Id="rId9" Type="http://schemas.openxmlformats.org/officeDocument/2006/relationships/slideMaster" Target="../slideMasters/slideMaster3.xml"/></Relationships>
</file>

<file path=ppt/slideLayouts/_rels/slideLayout183.xml.rels><?xml version="1.0" encoding="UTF-8" standalone="yes"?>
<Relationships xmlns="http://schemas.openxmlformats.org/package/2006/relationships"><Relationship Id="rId8" Type="http://schemas.openxmlformats.org/officeDocument/2006/relationships/tags" Target="../tags/tag395.xml"/><Relationship Id="rId3" Type="http://schemas.openxmlformats.org/officeDocument/2006/relationships/tags" Target="../tags/tag390.xml"/><Relationship Id="rId7" Type="http://schemas.openxmlformats.org/officeDocument/2006/relationships/tags" Target="../tags/tag394.xml"/><Relationship Id="rId2" Type="http://schemas.openxmlformats.org/officeDocument/2006/relationships/tags" Target="../tags/tag389.xml"/><Relationship Id="rId1" Type="http://schemas.openxmlformats.org/officeDocument/2006/relationships/tags" Target="../tags/tag388.xml"/><Relationship Id="rId6" Type="http://schemas.openxmlformats.org/officeDocument/2006/relationships/tags" Target="../tags/tag393.xml"/><Relationship Id="rId11" Type="http://schemas.openxmlformats.org/officeDocument/2006/relationships/image" Target="../media/image21.emf"/><Relationship Id="rId5" Type="http://schemas.openxmlformats.org/officeDocument/2006/relationships/tags" Target="../tags/tag392.xml"/><Relationship Id="rId10" Type="http://schemas.openxmlformats.org/officeDocument/2006/relationships/oleObject" Target="../embeddings/oleObject117.bin"/><Relationship Id="rId4" Type="http://schemas.openxmlformats.org/officeDocument/2006/relationships/tags" Target="../tags/tag391.xml"/><Relationship Id="rId9" Type="http://schemas.openxmlformats.org/officeDocument/2006/relationships/slideMaster" Target="../slideMasters/slideMaster3.xml"/></Relationships>
</file>

<file path=ppt/slideLayouts/_rels/slideLayout184.xml.rels><?xml version="1.0" encoding="UTF-8" standalone="yes"?>
<Relationships xmlns="http://schemas.openxmlformats.org/package/2006/relationships"><Relationship Id="rId8" Type="http://schemas.openxmlformats.org/officeDocument/2006/relationships/tags" Target="../tags/tag403.xml"/><Relationship Id="rId3" Type="http://schemas.openxmlformats.org/officeDocument/2006/relationships/tags" Target="../tags/tag398.xml"/><Relationship Id="rId7" Type="http://schemas.openxmlformats.org/officeDocument/2006/relationships/tags" Target="../tags/tag402.xml"/><Relationship Id="rId2" Type="http://schemas.openxmlformats.org/officeDocument/2006/relationships/tags" Target="../tags/tag397.xml"/><Relationship Id="rId1" Type="http://schemas.openxmlformats.org/officeDocument/2006/relationships/tags" Target="../tags/tag396.xml"/><Relationship Id="rId6" Type="http://schemas.openxmlformats.org/officeDocument/2006/relationships/tags" Target="../tags/tag401.xml"/><Relationship Id="rId11" Type="http://schemas.openxmlformats.org/officeDocument/2006/relationships/image" Target="../media/image21.emf"/><Relationship Id="rId5" Type="http://schemas.openxmlformats.org/officeDocument/2006/relationships/tags" Target="../tags/tag400.xml"/><Relationship Id="rId10" Type="http://schemas.openxmlformats.org/officeDocument/2006/relationships/oleObject" Target="../embeddings/oleObject118.bin"/><Relationship Id="rId4" Type="http://schemas.openxmlformats.org/officeDocument/2006/relationships/tags" Target="../tags/tag399.xml"/><Relationship Id="rId9" Type="http://schemas.openxmlformats.org/officeDocument/2006/relationships/slideMaster" Target="../slideMasters/slideMaster3.xml"/></Relationships>
</file>

<file path=ppt/slideLayouts/_rels/slideLayout185.xml.rels><?xml version="1.0" encoding="UTF-8" standalone="yes"?>
<Relationships xmlns="http://schemas.openxmlformats.org/package/2006/relationships"><Relationship Id="rId8" Type="http://schemas.openxmlformats.org/officeDocument/2006/relationships/tags" Target="../tags/tag411.xml"/><Relationship Id="rId3" Type="http://schemas.openxmlformats.org/officeDocument/2006/relationships/tags" Target="../tags/tag406.xml"/><Relationship Id="rId7" Type="http://schemas.openxmlformats.org/officeDocument/2006/relationships/tags" Target="../tags/tag410.xml"/><Relationship Id="rId2" Type="http://schemas.openxmlformats.org/officeDocument/2006/relationships/tags" Target="../tags/tag405.xml"/><Relationship Id="rId1" Type="http://schemas.openxmlformats.org/officeDocument/2006/relationships/tags" Target="../tags/tag404.xml"/><Relationship Id="rId6" Type="http://schemas.openxmlformats.org/officeDocument/2006/relationships/tags" Target="../tags/tag409.xml"/><Relationship Id="rId11" Type="http://schemas.openxmlformats.org/officeDocument/2006/relationships/image" Target="../media/image32.emf"/><Relationship Id="rId5" Type="http://schemas.openxmlformats.org/officeDocument/2006/relationships/tags" Target="../tags/tag408.xml"/><Relationship Id="rId10" Type="http://schemas.openxmlformats.org/officeDocument/2006/relationships/oleObject" Target="../embeddings/oleObject119.bin"/><Relationship Id="rId4" Type="http://schemas.openxmlformats.org/officeDocument/2006/relationships/tags" Target="../tags/tag407.xml"/><Relationship Id="rId9" Type="http://schemas.openxmlformats.org/officeDocument/2006/relationships/slideMaster" Target="../slideMasters/slideMaster3.xml"/></Relationships>
</file>

<file path=ppt/slideLayouts/_rels/slideLayout186.xml.rels><?xml version="1.0" encoding="UTF-8" standalone="yes"?>
<Relationships xmlns="http://schemas.openxmlformats.org/package/2006/relationships"><Relationship Id="rId8" Type="http://schemas.openxmlformats.org/officeDocument/2006/relationships/tags" Target="../tags/tag419.xml"/><Relationship Id="rId3" Type="http://schemas.openxmlformats.org/officeDocument/2006/relationships/tags" Target="../tags/tag414.xml"/><Relationship Id="rId7" Type="http://schemas.openxmlformats.org/officeDocument/2006/relationships/tags" Target="../tags/tag418.xml"/><Relationship Id="rId2" Type="http://schemas.openxmlformats.org/officeDocument/2006/relationships/tags" Target="../tags/tag413.xml"/><Relationship Id="rId1" Type="http://schemas.openxmlformats.org/officeDocument/2006/relationships/tags" Target="../tags/tag412.xml"/><Relationship Id="rId6" Type="http://schemas.openxmlformats.org/officeDocument/2006/relationships/tags" Target="../tags/tag417.xml"/><Relationship Id="rId11" Type="http://schemas.openxmlformats.org/officeDocument/2006/relationships/image" Target="../media/image21.emf"/><Relationship Id="rId5" Type="http://schemas.openxmlformats.org/officeDocument/2006/relationships/tags" Target="../tags/tag416.xml"/><Relationship Id="rId10" Type="http://schemas.openxmlformats.org/officeDocument/2006/relationships/oleObject" Target="../embeddings/oleObject120.bin"/><Relationship Id="rId4" Type="http://schemas.openxmlformats.org/officeDocument/2006/relationships/tags" Target="../tags/tag415.xml"/><Relationship Id="rId9" Type="http://schemas.openxmlformats.org/officeDocument/2006/relationships/slideMaster" Target="../slideMasters/slideMaster3.xml"/></Relationships>
</file>

<file path=ppt/slideLayouts/_rels/slideLayout18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1.bin"/><Relationship Id="rId3" Type="http://schemas.openxmlformats.org/officeDocument/2006/relationships/tags" Target="../tags/tag422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421.xml"/><Relationship Id="rId1" Type="http://schemas.openxmlformats.org/officeDocument/2006/relationships/tags" Target="../tags/tag420.xml"/><Relationship Id="rId6" Type="http://schemas.openxmlformats.org/officeDocument/2006/relationships/tags" Target="../tags/tag425.xml"/><Relationship Id="rId5" Type="http://schemas.openxmlformats.org/officeDocument/2006/relationships/tags" Target="../tags/tag424.xml"/><Relationship Id="rId4" Type="http://schemas.openxmlformats.org/officeDocument/2006/relationships/tags" Target="../tags/tag423.xml"/><Relationship Id="rId9" Type="http://schemas.openxmlformats.org/officeDocument/2006/relationships/image" Target="../media/image22.emf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tags" Target="../tags/tag428.xml"/><Relationship Id="rId7" Type="http://schemas.openxmlformats.org/officeDocument/2006/relationships/image" Target="../media/image22.emf"/><Relationship Id="rId2" Type="http://schemas.openxmlformats.org/officeDocument/2006/relationships/tags" Target="../tags/tag427.xml"/><Relationship Id="rId1" Type="http://schemas.openxmlformats.org/officeDocument/2006/relationships/tags" Target="../tags/tag426.xml"/><Relationship Id="rId6" Type="http://schemas.openxmlformats.org/officeDocument/2006/relationships/oleObject" Target="../embeddings/oleObject122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429.xml"/></Relationships>
</file>

<file path=ppt/slideLayouts/_rels/slideLayout18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432.xml"/><Relationship Id="rId7" Type="http://schemas.openxmlformats.org/officeDocument/2006/relationships/tags" Target="../tags/tag436.xml"/><Relationship Id="rId2" Type="http://schemas.openxmlformats.org/officeDocument/2006/relationships/tags" Target="../tags/tag431.xml"/><Relationship Id="rId1" Type="http://schemas.openxmlformats.org/officeDocument/2006/relationships/tags" Target="../tags/tag430.xml"/><Relationship Id="rId6" Type="http://schemas.openxmlformats.org/officeDocument/2006/relationships/tags" Target="../tags/tag435.xml"/><Relationship Id="rId5" Type="http://schemas.openxmlformats.org/officeDocument/2006/relationships/tags" Target="../tags/tag434.xml"/><Relationship Id="rId10" Type="http://schemas.openxmlformats.org/officeDocument/2006/relationships/image" Target="../media/image21.emf"/><Relationship Id="rId4" Type="http://schemas.openxmlformats.org/officeDocument/2006/relationships/tags" Target="../tags/tag433.xml"/><Relationship Id="rId9" Type="http://schemas.openxmlformats.org/officeDocument/2006/relationships/oleObject" Target="../embeddings/oleObject123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9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4.bin"/><Relationship Id="rId3" Type="http://schemas.openxmlformats.org/officeDocument/2006/relationships/tags" Target="../tags/tag439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438.xml"/><Relationship Id="rId1" Type="http://schemas.openxmlformats.org/officeDocument/2006/relationships/tags" Target="../tags/tag437.xml"/><Relationship Id="rId6" Type="http://schemas.openxmlformats.org/officeDocument/2006/relationships/tags" Target="../tags/tag442.xml"/><Relationship Id="rId5" Type="http://schemas.openxmlformats.org/officeDocument/2006/relationships/tags" Target="../tags/tag441.xml"/><Relationship Id="rId4" Type="http://schemas.openxmlformats.org/officeDocument/2006/relationships/tags" Target="../tags/tag440.xml"/><Relationship Id="rId9" Type="http://schemas.openxmlformats.org/officeDocument/2006/relationships/image" Target="../media/image22.emf"/></Relationships>
</file>

<file path=ppt/slideLayouts/_rels/slideLayout19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5.bin"/><Relationship Id="rId3" Type="http://schemas.openxmlformats.org/officeDocument/2006/relationships/tags" Target="../tags/tag445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444.xml"/><Relationship Id="rId1" Type="http://schemas.openxmlformats.org/officeDocument/2006/relationships/tags" Target="../tags/tag443.xml"/><Relationship Id="rId6" Type="http://schemas.openxmlformats.org/officeDocument/2006/relationships/tags" Target="../tags/tag448.xml"/><Relationship Id="rId5" Type="http://schemas.openxmlformats.org/officeDocument/2006/relationships/tags" Target="../tags/tag447.xml"/><Relationship Id="rId4" Type="http://schemas.openxmlformats.org/officeDocument/2006/relationships/tags" Target="../tags/tag446.xml"/><Relationship Id="rId9" Type="http://schemas.openxmlformats.org/officeDocument/2006/relationships/image" Target="../media/image22.emf"/></Relationships>
</file>

<file path=ppt/slideLayouts/_rels/slideLayout19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6.bin"/><Relationship Id="rId3" Type="http://schemas.openxmlformats.org/officeDocument/2006/relationships/tags" Target="../tags/tag451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450.xml"/><Relationship Id="rId1" Type="http://schemas.openxmlformats.org/officeDocument/2006/relationships/tags" Target="../tags/tag449.xml"/><Relationship Id="rId6" Type="http://schemas.openxmlformats.org/officeDocument/2006/relationships/tags" Target="../tags/tag454.xml"/><Relationship Id="rId5" Type="http://schemas.openxmlformats.org/officeDocument/2006/relationships/tags" Target="../tags/tag453.xml"/><Relationship Id="rId4" Type="http://schemas.openxmlformats.org/officeDocument/2006/relationships/tags" Target="../tags/tag452.xml"/><Relationship Id="rId9" Type="http://schemas.openxmlformats.org/officeDocument/2006/relationships/image" Target="../media/image22.emf"/></Relationships>
</file>

<file path=ppt/slideLayouts/_rels/slideLayout19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457.xml"/><Relationship Id="rId7" Type="http://schemas.openxmlformats.org/officeDocument/2006/relationships/tags" Target="../tags/tag461.xml"/><Relationship Id="rId2" Type="http://schemas.openxmlformats.org/officeDocument/2006/relationships/tags" Target="../tags/tag456.xml"/><Relationship Id="rId1" Type="http://schemas.openxmlformats.org/officeDocument/2006/relationships/tags" Target="../tags/tag455.xml"/><Relationship Id="rId6" Type="http://schemas.openxmlformats.org/officeDocument/2006/relationships/tags" Target="../tags/tag460.xml"/><Relationship Id="rId5" Type="http://schemas.openxmlformats.org/officeDocument/2006/relationships/tags" Target="../tags/tag459.xml"/><Relationship Id="rId10" Type="http://schemas.openxmlformats.org/officeDocument/2006/relationships/image" Target="../media/image22.emf"/><Relationship Id="rId4" Type="http://schemas.openxmlformats.org/officeDocument/2006/relationships/tags" Target="../tags/tag458.xml"/><Relationship Id="rId9" Type="http://schemas.openxmlformats.org/officeDocument/2006/relationships/oleObject" Target="../embeddings/oleObject127.bin"/></Relationships>
</file>

<file path=ppt/slideLayouts/_rels/slideLayout194.xml.rels><?xml version="1.0" encoding="UTF-8" standalone="yes"?>
<Relationships xmlns="http://schemas.openxmlformats.org/package/2006/relationships"><Relationship Id="rId8" Type="http://schemas.openxmlformats.org/officeDocument/2006/relationships/tags" Target="../tags/tag469.xml"/><Relationship Id="rId3" Type="http://schemas.openxmlformats.org/officeDocument/2006/relationships/tags" Target="../tags/tag464.xml"/><Relationship Id="rId7" Type="http://schemas.openxmlformats.org/officeDocument/2006/relationships/tags" Target="../tags/tag468.xml"/><Relationship Id="rId2" Type="http://schemas.openxmlformats.org/officeDocument/2006/relationships/tags" Target="../tags/tag463.xml"/><Relationship Id="rId1" Type="http://schemas.openxmlformats.org/officeDocument/2006/relationships/tags" Target="../tags/tag462.xml"/><Relationship Id="rId6" Type="http://schemas.openxmlformats.org/officeDocument/2006/relationships/tags" Target="../tags/tag467.xml"/><Relationship Id="rId11" Type="http://schemas.openxmlformats.org/officeDocument/2006/relationships/image" Target="../media/image21.emf"/><Relationship Id="rId5" Type="http://schemas.openxmlformats.org/officeDocument/2006/relationships/tags" Target="../tags/tag466.xml"/><Relationship Id="rId10" Type="http://schemas.openxmlformats.org/officeDocument/2006/relationships/oleObject" Target="../embeddings/oleObject128.bin"/><Relationship Id="rId4" Type="http://schemas.openxmlformats.org/officeDocument/2006/relationships/tags" Target="../tags/tag465.xml"/><Relationship Id="rId9" Type="http://schemas.openxmlformats.org/officeDocument/2006/relationships/slideMaster" Target="../slideMasters/slideMaster3.xml"/></Relationships>
</file>

<file path=ppt/slideLayouts/_rels/slideLayout195.xml.rels><?xml version="1.0" encoding="UTF-8" standalone="yes"?>
<Relationships xmlns="http://schemas.openxmlformats.org/package/2006/relationships"><Relationship Id="rId8" Type="http://schemas.openxmlformats.org/officeDocument/2006/relationships/tags" Target="../tags/tag477.xml"/><Relationship Id="rId3" Type="http://schemas.openxmlformats.org/officeDocument/2006/relationships/tags" Target="../tags/tag472.xml"/><Relationship Id="rId7" Type="http://schemas.openxmlformats.org/officeDocument/2006/relationships/tags" Target="../tags/tag476.xml"/><Relationship Id="rId2" Type="http://schemas.openxmlformats.org/officeDocument/2006/relationships/tags" Target="../tags/tag471.xml"/><Relationship Id="rId1" Type="http://schemas.openxmlformats.org/officeDocument/2006/relationships/tags" Target="../tags/tag470.xml"/><Relationship Id="rId6" Type="http://schemas.openxmlformats.org/officeDocument/2006/relationships/tags" Target="../tags/tag475.xml"/><Relationship Id="rId11" Type="http://schemas.openxmlformats.org/officeDocument/2006/relationships/image" Target="../media/image21.emf"/><Relationship Id="rId5" Type="http://schemas.openxmlformats.org/officeDocument/2006/relationships/tags" Target="../tags/tag474.xml"/><Relationship Id="rId10" Type="http://schemas.openxmlformats.org/officeDocument/2006/relationships/oleObject" Target="../embeddings/oleObject129.bin"/><Relationship Id="rId4" Type="http://schemas.openxmlformats.org/officeDocument/2006/relationships/tags" Target="../tags/tag473.xml"/><Relationship Id="rId9" Type="http://schemas.openxmlformats.org/officeDocument/2006/relationships/slideMaster" Target="../slideMasters/slideMaster3.xml"/></Relationships>
</file>

<file path=ppt/slideLayouts/_rels/slideLayout196.xml.rels><?xml version="1.0" encoding="UTF-8" standalone="yes"?>
<Relationships xmlns="http://schemas.openxmlformats.org/package/2006/relationships"><Relationship Id="rId8" Type="http://schemas.openxmlformats.org/officeDocument/2006/relationships/tags" Target="../tags/tag485.xml"/><Relationship Id="rId3" Type="http://schemas.openxmlformats.org/officeDocument/2006/relationships/tags" Target="../tags/tag480.xml"/><Relationship Id="rId7" Type="http://schemas.openxmlformats.org/officeDocument/2006/relationships/tags" Target="../tags/tag484.xml"/><Relationship Id="rId2" Type="http://schemas.openxmlformats.org/officeDocument/2006/relationships/tags" Target="../tags/tag479.xml"/><Relationship Id="rId1" Type="http://schemas.openxmlformats.org/officeDocument/2006/relationships/tags" Target="../tags/tag478.xml"/><Relationship Id="rId6" Type="http://schemas.openxmlformats.org/officeDocument/2006/relationships/tags" Target="../tags/tag483.xml"/><Relationship Id="rId11" Type="http://schemas.openxmlformats.org/officeDocument/2006/relationships/image" Target="../media/image22.emf"/><Relationship Id="rId5" Type="http://schemas.openxmlformats.org/officeDocument/2006/relationships/tags" Target="../tags/tag482.xml"/><Relationship Id="rId10" Type="http://schemas.openxmlformats.org/officeDocument/2006/relationships/oleObject" Target="../embeddings/oleObject130.bin"/><Relationship Id="rId4" Type="http://schemas.openxmlformats.org/officeDocument/2006/relationships/tags" Target="../tags/tag481.xml"/><Relationship Id="rId9" Type="http://schemas.openxmlformats.org/officeDocument/2006/relationships/slideMaster" Target="../slideMasters/slideMaster3.xml"/></Relationships>
</file>

<file path=ppt/slideLayouts/_rels/slideLayout197.xml.rels><?xml version="1.0" encoding="UTF-8" standalone="yes"?>
<Relationships xmlns="http://schemas.openxmlformats.org/package/2006/relationships"><Relationship Id="rId8" Type="http://schemas.openxmlformats.org/officeDocument/2006/relationships/tags" Target="../tags/tag493.xml"/><Relationship Id="rId3" Type="http://schemas.openxmlformats.org/officeDocument/2006/relationships/tags" Target="../tags/tag488.xml"/><Relationship Id="rId7" Type="http://schemas.openxmlformats.org/officeDocument/2006/relationships/tags" Target="../tags/tag492.xml"/><Relationship Id="rId2" Type="http://schemas.openxmlformats.org/officeDocument/2006/relationships/tags" Target="../tags/tag487.xml"/><Relationship Id="rId1" Type="http://schemas.openxmlformats.org/officeDocument/2006/relationships/tags" Target="../tags/tag486.xml"/><Relationship Id="rId6" Type="http://schemas.openxmlformats.org/officeDocument/2006/relationships/tags" Target="../tags/tag491.xml"/><Relationship Id="rId11" Type="http://schemas.openxmlformats.org/officeDocument/2006/relationships/image" Target="../media/image21.emf"/><Relationship Id="rId5" Type="http://schemas.openxmlformats.org/officeDocument/2006/relationships/tags" Target="../tags/tag490.xml"/><Relationship Id="rId10" Type="http://schemas.openxmlformats.org/officeDocument/2006/relationships/oleObject" Target="../embeddings/oleObject131.bin"/><Relationship Id="rId4" Type="http://schemas.openxmlformats.org/officeDocument/2006/relationships/tags" Target="../tags/tag489.xml"/><Relationship Id="rId9" Type="http://schemas.openxmlformats.org/officeDocument/2006/relationships/slideMaster" Target="../slideMasters/slideMaster3.xml"/></Relationships>
</file>

<file path=ppt/slideLayouts/_rels/slideLayout19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496.xml"/><Relationship Id="rId7" Type="http://schemas.openxmlformats.org/officeDocument/2006/relationships/tags" Target="../tags/tag500.xml"/><Relationship Id="rId2" Type="http://schemas.openxmlformats.org/officeDocument/2006/relationships/tags" Target="../tags/tag495.xml"/><Relationship Id="rId1" Type="http://schemas.openxmlformats.org/officeDocument/2006/relationships/tags" Target="../tags/tag494.xml"/><Relationship Id="rId6" Type="http://schemas.openxmlformats.org/officeDocument/2006/relationships/tags" Target="../tags/tag499.xml"/><Relationship Id="rId5" Type="http://schemas.openxmlformats.org/officeDocument/2006/relationships/tags" Target="../tags/tag498.xml"/><Relationship Id="rId10" Type="http://schemas.openxmlformats.org/officeDocument/2006/relationships/image" Target="../media/image22.emf"/><Relationship Id="rId4" Type="http://schemas.openxmlformats.org/officeDocument/2006/relationships/tags" Target="../tags/tag497.xml"/><Relationship Id="rId9" Type="http://schemas.openxmlformats.org/officeDocument/2006/relationships/oleObject" Target="../embeddings/oleObject132.bin"/></Relationships>
</file>

<file path=ppt/slideLayouts/_rels/slideLayout199.xml.rels><?xml version="1.0" encoding="UTF-8" standalone="yes"?>
<Relationships xmlns="http://schemas.openxmlformats.org/package/2006/relationships"><Relationship Id="rId8" Type="http://schemas.openxmlformats.org/officeDocument/2006/relationships/tags" Target="../tags/tag508.xml"/><Relationship Id="rId3" Type="http://schemas.openxmlformats.org/officeDocument/2006/relationships/tags" Target="../tags/tag503.xml"/><Relationship Id="rId7" Type="http://schemas.openxmlformats.org/officeDocument/2006/relationships/tags" Target="../tags/tag507.xml"/><Relationship Id="rId2" Type="http://schemas.openxmlformats.org/officeDocument/2006/relationships/tags" Target="../tags/tag502.xml"/><Relationship Id="rId1" Type="http://schemas.openxmlformats.org/officeDocument/2006/relationships/tags" Target="../tags/tag501.xml"/><Relationship Id="rId6" Type="http://schemas.openxmlformats.org/officeDocument/2006/relationships/tags" Target="../tags/tag506.xml"/><Relationship Id="rId11" Type="http://schemas.openxmlformats.org/officeDocument/2006/relationships/image" Target="../media/image22.emf"/><Relationship Id="rId5" Type="http://schemas.openxmlformats.org/officeDocument/2006/relationships/tags" Target="../tags/tag505.xml"/><Relationship Id="rId10" Type="http://schemas.openxmlformats.org/officeDocument/2006/relationships/oleObject" Target="../embeddings/oleObject133.bin"/><Relationship Id="rId4" Type="http://schemas.openxmlformats.org/officeDocument/2006/relationships/tags" Target="../tags/tag504.xml"/><Relationship Id="rId9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8" Type="http://schemas.openxmlformats.org/officeDocument/2006/relationships/tags" Target="../tags/tag516.xml"/><Relationship Id="rId3" Type="http://schemas.openxmlformats.org/officeDocument/2006/relationships/tags" Target="../tags/tag511.xml"/><Relationship Id="rId7" Type="http://schemas.openxmlformats.org/officeDocument/2006/relationships/tags" Target="../tags/tag515.xml"/><Relationship Id="rId2" Type="http://schemas.openxmlformats.org/officeDocument/2006/relationships/tags" Target="../tags/tag510.xml"/><Relationship Id="rId1" Type="http://schemas.openxmlformats.org/officeDocument/2006/relationships/tags" Target="../tags/tag509.xml"/><Relationship Id="rId6" Type="http://schemas.openxmlformats.org/officeDocument/2006/relationships/tags" Target="../tags/tag514.xml"/><Relationship Id="rId11" Type="http://schemas.openxmlformats.org/officeDocument/2006/relationships/image" Target="../media/image21.emf"/><Relationship Id="rId5" Type="http://schemas.openxmlformats.org/officeDocument/2006/relationships/tags" Target="../tags/tag513.xml"/><Relationship Id="rId10" Type="http://schemas.openxmlformats.org/officeDocument/2006/relationships/oleObject" Target="../embeddings/oleObject134.bin"/><Relationship Id="rId4" Type="http://schemas.openxmlformats.org/officeDocument/2006/relationships/tags" Target="../tags/tag512.xml"/><Relationship Id="rId9" Type="http://schemas.openxmlformats.org/officeDocument/2006/relationships/slideMaster" Target="../slideMasters/slideMaster3.xml"/></Relationships>
</file>

<file path=ppt/slideLayouts/_rels/slideLayout201.xml.rels><?xml version="1.0" encoding="UTF-8" standalone="yes"?>
<Relationships xmlns="http://schemas.openxmlformats.org/package/2006/relationships"><Relationship Id="rId8" Type="http://schemas.openxmlformats.org/officeDocument/2006/relationships/tags" Target="../tags/tag524.xml"/><Relationship Id="rId3" Type="http://schemas.openxmlformats.org/officeDocument/2006/relationships/tags" Target="../tags/tag519.xml"/><Relationship Id="rId7" Type="http://schemas.openxmlformats.org/officeDocument/2006/relationships/tags" Target="../tags/tag523.xml"/><Relationship Id="rId2" Type="http://schemas.openxmlformats.org/officeDocument/2006/relationships/tags" Target="../tags/tag518.xml"/><Relationship Id="rId1" Type="http://schemas.openxmlformats.org/officeDocument/2006/relationships/tags" Target="../tags/tag517.xml"/><Relationship Id="rId6" Type="http://schemas.openxmlformats.org/officeDocument/2006/relationships/tags" Target="../tags/tag522.xml"/><Relationship Id="rId11" Type="http://schemas.openxmlformats.org/officeDocument/2006/relationships/image" Target="../media/image22.emf"/><Relationship Id="rId5" Type="http://schemas.openxmlformats.org/officeDocument/2006/relationships/tags" Target="../tags/tag521.xml"/><Relationship Id="rId10" Type="http://schemas.openxmlformats.org/officeDocument/2006/relationships/oleObject" Target="../embeddings/oleObject135.bin"/><Relationship Id="rId4" Type="http://schemas.openxmlformats.org/officeDocument/2006/relationships/tags" Target="../tags/tag520.xml"/><Relationship Id="rId9" Type="http://schemas.openxmlformats.org/officeDocument/2006/relationships/slideMaster" Target="../slideMasters/slideMaster3.xml"/></Relationships>
</file>

<file path=ppt/slideLayouts/_rels/slideLayout20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6.bin"/><Relationship Id="rId3" Type="http://schemas.openxmlformats.org/officeDocument/2006/relationships/tags" Target="../tags/tag527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526.xml"/><Relationship Id="rId1" Type="http://schemas.openxmlformats.org/officeDocument/2006/relationships/tags" Target="../tags/tag525.xml"/><Relationship Id="rId6" Type="http://schemas.openxmlformats.org/officeDocument/2006/relationships/tags" Target="../tags/tag530.xml"/><Relationship Id="rId5" Type="http://schemas.openxmlformats.org/officeDocument/2006/relationships/tags" Target="../tags/tag529.xml"/><Relationship Id="rId4" Type="http://schemas.openxmlformats.org/officeDocument/2006/relationships/tags" Target="../tags/tag528.xml"/><Relationship Id="rId9" Type="http://schemas.openxmlformats.org/officeDocument/2006/relationships/image" Target="../media/image22.emf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tags" Target="../tags/tag533.xml"/><Relationship Id="rId7" Type="http://schemas.openxmlformats.org/officeDocument/2006/relationships/image" Target="../media/image22.emf"/><Relationship Id="rId2" Type="http://schemas.openxmlformats.org/officeDocument/2006/relationships/tags" Target="../tags/tag532.xml"/><Relationship Id="rId1" Type="http://schemas.openxmlformats.org/officeDocument/2006/relationships/tags" Target="../tags/tag531.xml"/><Relationship Id="rId6" Type="http://schemas.openxmlformats.org/officeDocument/2006/relationships/oleObject" Target="../embeddings/oleObject137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34.xml"/></Relationships>
</file>

<file path=ppt/slideLayouts/_rels/slideLayout20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537.xml"/><Relationship Id="rId7" Type="http://schemas.openxmlformats.org/officeDocument/2006/relationships/tags" Target="../tags/tag541.xml"/><Relationship Id="rId2" Type="http://schemas.openxmlformats.org/officeDocument/2006/relationships/tags" Target="../tags/tag536.xml"/><Relationship Id="rId1" Type="http://schemas.openxmlformats.org/officeDocument/2006/relationships/tags" Target="../tags/tag535.xml"/><Relationship Id="rId6" Type="http://schemas.openxmlformats.org/officeDocument/2006/relationships/tags" Target="../tags/tag540.xml"/><Relationship Id="rId5" Type="http://schemas.openxmlformats.org/officeDocument/2006/relationships/tags" Target="../tags/tag539.xml"/><Relationship Id="rId10" Type="http://schemas.openxmlformats.org/officeDocument/2006/relationships/image" Target="../media/image21.emf"/><Relationship Id="rId4" Type="http://schemas.openxmlformats.org/officeDocument/2006/relationships/tags" Target="../tags/tag538.xml"/><Relationship Id="rId9" Type="http://schemas.openxmlformats.org/officeDocument/2006/relationships/oleObject" Target="../embeddings/oleObject138.bin"/></Relationships>
</file>

<file path=ppt/slideLayouts/_rels/slideLayout20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9.bin"/><Relationship Id="rId3" Type="http://schemas.openxmlformats.org/officeDocument/2006/relationships/tags" Target="../tags/tag544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543.xml"/><Relationship Id="rId1" Type="http://schemas.openxmlformats.org/officeDocument/2006/relationships/tags" Target="../tags/tag542.xml"/><Relationship Id="rId6" Type="http://schemas.openxmlformats.org/officeDocument/2006/relationships/tags" Target="../tags/tag547.xml"/><Relationship Id="rId5" Type="http://schemas.openxmlformats.org/officeDocument/2006/relationships/tags" Target="../tags/tag546.xml"/><Relationship Id="rId4" Type="http://schemas.openxmlformats.org/officeDocument/2006/relationships/tags" Target="../tags/tag545.xml"/><Relationship Id="rId9" Type="http://schemas.openxmlformats.org/officeDocument/2006/relationships/image" Target="../media/image22.emf"/></Relationships>
</file>

<file path=ppt/slideLayouts/_rels/slideLayout20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0.bin"/><Relationship Id="rId3" Type="http://schemas.openxmlformats.org/officeDocument/2006/relationships/tags" Target="../tags/tag550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549.xml"/><Relationship Id="rId1" Type="http://schemas.openxmlformats.org/officeDocument/2006/relationships/tags" Target="../tags/tag548.xml"/><Relationship Id="rId6" Type="http://schemas.openxmlformats.org/officeDocument/2006/relationships/tags" Target="../tags/tag553.xml"/><Relationship Id="rId5" Type="http://schemas.openxmlformats.org/officeDocument/2006/relationships/tags" Target="../tags/tag552.xml"/><Relationship Id="rId4" Type="http://schemas.openxmlformats.org/officeDocument/2006/relationships/tags" Target="../tags/tag551.xml"/><Relationship Id="rId9" Type="http://schemas.openxmlformats.org/officeDocument/2006/relationships/image" Target="../media/image22.emf"/></Relationships>
</file>

<file path=ppt/slideLayouts/_rels/slideLayout20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1.bin"/><Relationship Id="rId3" Type="http://schemas.openxmlformats.org/officeDocument/2006/relationships/tags" Target="../tags/tag556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555.xml"/><Relationship Id="rId1" Type="http://schemas.openxmlformats.org/officeDocument/2006/relationships/tags" Target="../tags/tag554.xml"/><Relationship Id="rId6" Type="http://schemas.openxmlformats.org/officeDocument/2006/relationships/tags" Target="../tags/tag559.xml"/><Relationship Id="rId5" Type="http://schemas.openxmlformats.org/officeDocument/2006/relationships/tags" Target="../tags/tag558.xml"/><Relationship Id="rId4" Type="http://schemas.openxmlformats.org/officeDocument/2006/relationships/tags" Target="../tags/tag557.xml"/><Relationship Id="rId9" Type="http://schemas.openxmlformats.org/officeDocument/2006/relationships/image" Target="../media/image22.emf"/></Relationships>
</file>

<file path=ppt/slideLayouts/_rels/slideLayout20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562.xml"/><Relationship Id="rId7" Type="http://schemas.openxmlformats.org/officeDocument/2006/relationships/tags" Target="../tags/tag566.xml"/><Relationship Id="rId2" Type="http://schemas.openxmlformats.org/officeDocument/2006/relationships/tags" Target="../tags/tag561.xml"/><Relationship Id="rId1" Type="http://schemas.openxmlformats.org/officeDocument/2006/relationships/tags" Target="../tags/tag560.xml"/><Relationship Id="rId6" Type="http://schemas.openxmlformats.org/officeDocument/2006/relationships/tags" Target="../tags/tag565.xml"/><Relationship Id="rId5" Type="http://schemas.openxmlformats.org/officeDocument/2006/relationships/tags" Target="../tags/tag564.xml"/><Relationship Id="rId10" Type="http://schemas.openxmlformats.org/officeDocument/2006/relationships/image" Target="../media/image22.emf"/><Relationship Id="rId4" Type="http://schemas.openxmlformats.org/officeDocument/2006/relationships/tags" Target="../tags/tag563.xml"/><Relationship Id="rId9" Type="http://schemas.openxmlformats.org/officeDocument/2006/relationships/oleObject" Target="../embeddings/oleObject142.bin"/></Relationships>
</file>

<file path=ppt/slideLayouts/_rels/slideLayout209.xml.rels><?xml version="1.0" encoding="UTF-8" standalone="yes"?>
<Relationships xmlns="http://schemas.openxmlformats.org/package/2006/relationships"><Relationship Id="rId8" Type="http://schemas.openxmlformats.org/officeDocument/2006/relationships/tags" Target="../tags/tag574.xml"/><Relationship Id="rId3" Type="http://schemas.openxmlformats.org/officeDocument/2006/relationships/tags" Target="../tags/tag569.xml"/><Relationship Id="rId7" Type="http://schemas.openxmlformats.org/officeDocument/2006/relationships/tags" Target="../tags/tag573.xml"/><Relationship Id="rId2" Type="http://schemas.openxmlformats.org/officeDocument/2006/relationships/tags" Target="../tags/tag568.xml"/><Relationship Id="rId1" Type="http://schemas.openxmlformats.org/officeDocument/2006/relationships/tags" Target="../tags/tag567.xml"/><Relationship Id="rId6" Type="http://schemas.openxmlformats.org/officeDocument/2006/relationships/tags" Target="../tags/tag572.xml"/><Relationship Id="rId11" Type="http://schemas.openxmlformats.org/officeDocument/2006/relationships/image" Target="../media/image21.emf"/><Relationship Id="rId5" Type="http://schemas.openxmlformats.org/officeDocument/2006/relationships/tags" Target="../tags/tag571.xml"/><Relationship Id="rId10" Type="http://schemas.openxmlformats.org/officeDocument/2006/relationships/oleObject" Target="../embeddings/oleObject143.bin"/><Relationship Id="rId4" Type="http://schemas.openxmlformats.org/officeDocument/2006/relationships/tags" Target="../tags/tag570.xml"/><Relationship Id="rId9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8" Type="http://schemas.openxmlformats.org/officeDocument/2006/relationships/tags" Target="../tags/tag582.xml"/><Relationship Id="rId3" Type="http://schemas.openxmlformats.org/officeDocument/2006/relationships/tags" Target="../tags/tag577.xml"/><Relationship Id="rId7" Type="http://schemas.openxmlformats.org/officeDocument/2006/relationships/tags" Target="../tags/tag581.xml"/><Relationship Id="rId2" Type="http://schemas.openxmlformats.org/officeDocument/2006/relationships/tags" Target="../tags/tag576.xml"/><Relationship Id="rId1" Type="http://schemas.openxmlformats.org/officeDocument/2006/relationships/tags" Target="../tags/tag575.xml"/><Relationship Id="rId6" Type="http://schemas.openxmlformats.org/officeDocument/2006/relationships/tags" Target="../tags/tag580.xml"/><Relationship Id="rId11" Type="http://schemas.openxmlformats.org/officeDocument/2006/relationships/image" Target="../media/image21.emf"/><Relationship Id="rId5" Type="http://schemas.openxmlformats.org/officeDocument/2006/relationships/tags" Target="../tags/tag579.xml"/><Relationship Id="rId10" Type="http://schemas.openxmlformats.org/officeDocument/2006/relationships/oleObject" Target="../embeddings/oleObject144.bin"/><Relationship Id="rId4" Type="http://schemas.openxmlformats.org/officeDocument/2006/relationships/tags" Target="../tags/tag578.xml"/><Relationship Id="rId9" Type="http://schemas.openxmlformats.org/officeDocument/2006/relationships/slideMaster" Target="../slideMasters/slideMaster3.xml"/></Relationships>
</file>

<file path=ppt/slideLayouts/_rels/slideLayout211.xml.rels><?xml version="1.0" encoding="UTF-8" standalone="yes"?>
<Relationships xmlns="http://schemas.openxmlformats.org/package/2006/relationships"><Relationship Id="rId8" Type="http://schemas.openxmlformats.org/officeDocument/2006/relationships/tags" Target="../tags/tag590.xml"/><Relationship Id="rId3" Type="http://schemas.openxmlformats.org/officeDocument/2006/relationships/tags" Target="../tags/tag585.xml"/><Relationship Id="rId7" Type="http://schemas.openxmlformats.org/officeDocument/2006/relationships/tags" Target="../tags/tag589.xml"/><Relationship Id="rId2" Type="http://schemas.openxmlformats.org/officeDocument/2006/relationships/tags" Target="../tags/tag584.xml"/><Relationship Id="rId1" Type="http://schemas.openxmlformats.org/officeDocument/2006/relationships/tags" Target="../tags/tag583.xml"/><Relationship Id="rId6" Type="http://schemas.openxmlformats.org/officeDocument/2006/relationships/tags" Target="../tags/tag588.xml"/><Relationship Id="rId11" Type="http://schemas.openxmlformats.org/officeDocument/2006/relationships/image" Target="../media/image21.emf"/><Relationship Id="rId5" Type="http://schemas.openxmlformats.org/officeDocument/2006/relationships/tags" Target="../tags/tag587.xml"/><Relationship Id="rId10" Type="http://schemas.openxmlformats.org/officeDocument/2006/relationships/oleObject" Target="../embeddings/oleObject145.bin"/><Relationship Id="rId4" Type="http://schemas.openxmlformats.org/officeDocument/2006/relationships/tags" Target="../tags/tag586.xml"/><Relationship Id="rId9" Type="http://schemas.openxmlformats.org/officeDocument/2006/relationships/slideMaster" Target="../slideMasters/slideMaster3.xml"/></Relationships>
</file>

<file path=ppt/slideLayouts/_rels/slideLayout212.xml.rels><?xml version="1.0" encoding="UTF-8" standalone="yes"?>
<Relationships xmlns="http://schemas.openxmlformats.org/package/2006/relationships"><Relationship Id="rId8" Type="http://schemas.openxmlformats.org/officeDocument/2006/relationships/tags" Target="../tags/tag598.xml"/><Relationship Id="rId3" Type="http://schemas.openxmlformats.org/officeDocument/2006/relationships/tags" Target="../tags/tag593.xml"/><Relationship Id="rId7" Type="http://schemas.openxmlformats.org/officeDocument/2006/relationships/tags" Target="../tags/tag597.xml"/><Relationship Id="rId2" Type="http://schemas.openxmlformats.org/officeDocument/2006/relationships/tags" Target="../tags/tag592.xml"/><Relationship Id="rId1" Type="http://schemas.openxmlformats.org/officeDocument/2006/relationships/tags" Target="../tags/tag591.xml"/><Relationship Id="rId6" Type="http://schemas.openxmlformats.org/officeDocument/2006/relationships/tags" Target="../tags/tag596.xml"/><Relationship Id="rId11" Type="http://schemas.openxmlformats.org/officeDocument/2006/relationships/image" Target="../media/image32.emf"/><Relationship Id="rId5" Type="http://schemas.openxmlformats.org/officeDocument/2006/relationships/tags" Target="../tags/tag595.xml"/><Relationship Id="rId10" Type="http://schemas.openxmlformats.org/officeDocument/2006/relationships/oleObject" Target="../embeddings/oleObject146.bin"/><Relationship Id="rId4" Type="http://schemas.openxmlformats.org/officeDocument/2006/relationships/tags" Target="../tags/tag594.xml"/><Relationship Id="rId9" Type="http://schemas.openxmlformats.org/officeDocument/2006/relationships/slideMaster" Target="../slideMasters/slideMaster3.xml"/></Relationships>
</file>

<file path=ppt/slideLayouts/_rels/slideLayout213.xml.rels><?xml version="1.0" encoding="UTF-8" standalone="yes"?>
<Relationships xmlns="http://schemas.openxmlformats.org/package/2006/relationships"><Relationship Id="rId8" Type="http://schemas.openxmlformats.org/officeDocument/2006/relationships/tags" Target="../tags/tag606.xml"/><Relationship Id="rId3" Type="http://schemas.openxmlformats.org/officeDocument/2006/relationships/tags" Target="../tags/tag601.xml"/><Relationship Id="rId7" Type="http://schemas.openxmlformats.org/officeDocument/2006/relationships/tags" Target="../tags/tag605.xml"/><Relationship Id="rId2" Type="http://schemas.openxmlformats.org/officeDocument/2006/relationships/tags" Target="../tags/tag600.xml"/><Relationship Id="rId1" Type="http://schemas.openxmlformats.org/officeDocument/2006/relationships/tags" Target="../tags/tag599.xml"/><Relationship Id="rId6" Type="http://schemas.openxmlformats.org/officeDocument/2006/relationships/tags" Target="../tags/tag604.xml"/><Relationship Id="rId11" Type="http://schemas.openxmlformats.org/officeDocument/2006/relationships/image" Target="../media/image21.emf"/><Relationship Id="rId5" Type="http://schemas.openxmlformats.org/officeDocument/2006/relationships/tags" Target="../tags/tag603.xml"/><Relationship Id="rId10" Type="http://schemas.openxmlformats.org/officeDocument/2006/relationships/oleObject" Target="../embeddings/oleObject147.bin"/><Relationship Id="rId4" Type="http://schemas.openxmlformats.org/officeDocument/2006/relationships/tags" Target="../tags/tag602.xml"/><Relationship Id="rId9" Type="http://schemas.openxmlformats.org/officeDocument/2006/relationships/slideMaster" Target="../slideMasters/slideMaster3.xml"/></Relationships>
</file>

<file path=ppt/slideLayouts/_rels/slideLayout2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8.bin"/><Relationship Id="rId3" Type="http://schemas.openxmlformats.org/officeDocument/2006/relationships/tags" Target="../tags/tag609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608.xml"/><Relationship Id="rId1" Type="http://schemas.openxmlformats.org/officeDocument/2006/relationships/tags" Target="../tags/tag607.xml"/><Relationship Id="rId6" Type="http://schemas.openxmlformats.org/officeDocument/2006/relationships/tags" Target="../tags/tag612.xml"/><Relationship Id="rId5" Type="http://schemas.openxmlformats.org/officeDocument/2006/relationships/tags" Target="../tags/tag611.xml"/><Relationship Id="rId4" Type="http://schemas.openxmlformats.org/officeDocument/2006/relationships/tags" Target="../tags/tag610.xml"/><Relationship Id="rId9" Type="http://schemas.openxmlformats.org/officeDocument/2006/relationships/image" Target="../media/image22.emf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tags" Target="../tags/tag615.xml"/><Relationship Id="rId7" Type="http://schemas.openxmlformats.org/officeDocument/2006/relationships/image" Target="../media/image22.emf"/><Relationship Id="rId2" Type="http://schemas.openxmlformats.org/officeDocument/2006/relationships/tags" Target="../tags/tag614.xml"/><Relationship Id="rId1" Type="http://schemas.openxmlformats.org/officeDocument/2006/relationships/tags" Target="../tags/tag613.xml"/><Relationship Id="rId6" Type="http://schemas.openxmlformats.org/officeDocument/2006/relationships/oleObject" Target="../embeddings/oleObject14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616.xml"/></Relationships>
</file>

<file path=ppt/slideLayouts/_rels/slideLayout2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619.xml"/><Relationship Id="rId7" Type="http://schemas.openxmlformats.org/officeDocument/2006/relationships/tags" Target="../tags/tag623.xml"/><Relationship Id="rId2" Type="http://schemas.openxmlformats.org/officeDocument/2006/relationships/tags" Target="../tags/tag618.xml"/><Relationship Id="rId1" Type="http://schemas.openxmlformats.org/officeDocument/2006/relationships/tags" Target="../tags/tag617.xml"/><Relationship Id="rId6" Type="http://schemas.openxmlformats.org/officeDocument/2006/relationships/tags" Target="../tags/tag622.xml"/><Relationship Id="rId5" Type="http://schemas.openxmlformats.org/officeDocument/2006/relationships/tags" Target="../tags/tag621.xml"/><Relationship Id="rId10" Type="http://schemas.openxmlformats.org/officeDocument/2006/relationships/image" Target="../media/image21.emf"/><Relationship Id="rId4" Type="http://schemas.openxmlformats.org/officeDocument/2006/relationships/tags" Target="../tags/tag620.xml"/><Relationship Id="rId9" Type="http://schemas.openxmlformats.org/officeDocument/2006/relationships/oleObject" Target="../embeddings/oleObject150.bin"/></Relationships>
</file>

<file path=ppt/slideLayouts/_rels/slideLayout2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1.bin"/><Relationship Id="rId3" Type="http://schemas.openxmlformats.org/officeDocument/2006/relationships/tags" Target="../tags/tag626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625.xml"/><Relationship Id="rId1" Type="http://schemas.openxmlformats.org/officeDocument/2006/relationships/tags" Target="../tags/tag624.xml"/><Relationship Id="rId6" Type="http://schemas.openxmlformats.org/officeDocument/2006/relationships/tags" Target="../tags/tag629.xml"/><Relationship Id="rId5" Type="http://schemas.openxmlformats.org/officeDocument/2006/relationships/tags" Target="../tags/tag628.xml"/><Relationship Id="rId4" Type="http://schemas.openxmlformats.org/officeDocument/2006/relationships/tags" Target="../tags/tag627.xml"/><Relationship Id="rId9" Type="http://schemas.openxmlformats.org/officeDocument/2006/relationships/image" Target="../media/image22.emf"/></Relationships>
</file>

<file path=ppt/slideLayouts/_rels/slideLayout2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2.bin"/><Relationship Id="rId3" Type="http://schemas.openxmlformats.org/officeDocument/2006/relationships/tags" Target="../tags/tag632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631.xml"/><Relationship Id="rId1" Type="http://schemas.openxmlformats.org/officeDocument/2006/relationships/tags" Target="../tags/tag630.xml"/><Relationship Id="rId6" Type="http://schemas.openxmlformats.org/officeDocument/2006/relationships/tags" Target="../tags/tag635.xml"/><Relationship Id="rId5" Type="http://schemas.openxmlformats.org/officeDocument/2006/relationships/tags" Target="../tags/tag634.xml"/><Relationship Id="rId4" Type="http://schemas.openxmlformats.org/officeDocument/2006/relationships/tags" Target="../tags/tag633.xml"/><Relationship Id="rId9" Type="http://schemas.openxmlformats.org/officeDocument/2006/relationships/image" Target="../media/image22.emf"/></Relationships>
</file>

<file path=ppt/slideLayouts/_rels/slideLayout2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3.bin"/><Relationship Id="rId3" Type="http://schemas.openxmlformats.org/officeDocument/2006/relationships/tags" Target="../tags/tag638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637.xml"/><Relationship Id="rId1" Type="http://schemas.openxmlformats.org/officeDocument/2006/relationships/tags" Target="../tags/tag636.xml"/><Relationship Id="rId6" Type="http://schemas.openxmlformats.org/officeDocument/2006/relationships/tags" Target="../tags/tag641.xml"/><Relationship Id="rId5" Type="http://schemas.openxmlformats.org/officeDocument/2006/relationships/tags" Target="../tags/tag640.xml"/><Relationship Id="rId4" Type="http://schemas.openxmlformats.org/officeDocument/2006/relationships/tags" Target="../tags/tag639.xml"/><Relationship Id="rId9" Type="http://schemas.openxmlformats.org/officeDocument/2006/relationships/image" Target="../media/image22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644.xml"/><Relationship Id="rId7" Type="http://schemas.openxmlformats.org/officeDocument/2006/relationships/tags" Target="../tags/tag648.xml"/><Relationship Id="rId2" Type="http://schemas.openxmlformats.org/officeDocument/2006/relationships/tags" Target="../tags/tag643.xml"/><Relationship Id="rId1" Type="http://schemas.openxmlformats.org/officeDocument/2006/relationships/tags" Target="../tags/tag642.xml"/><Relationship Id="rId6" Type="http://schemas.openxmlformats.org/officeDocument/2006/relationships/tags" Target="../tags/tag647.xml"/><Relationship Id="rId5" Type="http://schemas.openxmlformats.org/officeDocument/2006/relationships/tags" Target="../tags/tag646.xml"/><Relationship Id="rId10" Type="http://schemas.openxmlformats.org/officeDocument/2006/relationships/image" Target="../media/image22.emf"/><Relationship Id="rId4" Type="http://schemas.openxmlformats.org/officeDocument/2006/relationships/tags" Target="../tags/tag645.xml"/><Relationship Id="rId9" Type="http://schemas.openxmlformats.org/officeDocument/2006/relationships/oleObject" Target="../embeddings/oleObject154.bin"/></Relationships>
</file>

<file path=ppt/slideLayouts/_rels/slideLayout221.xml.rels><?xml version="1.0" encoding="UTF-8" standalone="yes"?>
<Relationships xmlns="http://schemas.openxmlformats.org/package/2006/relationships"><Relationship Id="rId8" Type="http://schemas.openxmlformats.org/officeDocument/2006/relationships/tags" Target="../tags/tag656.xml"/><Relationship Id="rId3" Type="http://schemas.openxmlformats.org/officeDocument/2006/relationships/tags" Target="../tags/tag651.xml"/><Relationship Id="rId7" Type="http://schemas.openxmlformats.org/officeDocument/2006/relationships/tags" Target="../tags/tag655.xml"/><Relationship Id="rId2" Type="http://schemas.openxmlformats.org/officeDocument/2006/relationships/tags" Target="../tags/tag650.xml"/><Relationship Id="rId1" Type="http://schemas.openxmlformats.org/officeDocument/2006/relationships/tags" Target="../tags/tag649.xml"/><Relationship Id="rId6" Type="http://schemas.openxmlformats.org/officeDocument/2006/relationships/tags" Target="../tags/tag654.xml"/><Relationship Id="rId11" Type="http://schemas.openxmlformats.org/officeDocument/2006/relationships/image" Target="../media/image21.emf"/><Relationship Id="rId5" Type="http://schemas.openxmlformats.org/officeDocument/2006/relationships/tags" Target="../tags/tag653.xml"/><Relationship Id="rId10" Type="http://schemas.openxmlformats.org/officeDocument/2006/relationships/oleObject" Target="../embeddings/oleObject155.bin"/><Relationship Id="rId4" Type="http://schemas.openxmlformats.org/officeDocument/2006/relationships/tags" Target="../tags/tag652.xml"/><Relationship Id="rId9" Type="http://schemas.openxmlformats.org/officeDocument/2006/relationships/slideMaster" Target="../slideMasters/slideMaster3.xml"/></Relationships>
</file>

<file path=ppt/slideLayouts/_rels/slideLayout222.xml.rels><?xml version="1.0" encoding="UTF-8" standalone="yes"?>
<Relationships xmlns="http://schemas.openxmlformats.org/package/2006/relationships"><Relationship Id="rId8" Type="http://schemas.openxmlformats.org/officeDocument/2006/relationships/tags" Target="../tags/tag664.xml"/><Relationship Id="rId3" Type="http://schemas.openxmlformats.org/officeDocument/2006/relationships/tags" Target="../tags/tag659.xml"/><Relationship Id="rId7" Type="http://schemas.openxmlformats.org/officeDocument/2006/relationships/tags" Target="../tags/tag663.xml"/><Relationship Id="rId2" Type="http://schemas.openxmlformats.org/officeDocument/2006/relationships/tags" Target="../tags/tag658.xml"/><Relationship Id="rId1" Type="http://schemas.openxmlformats.org/officeDocument/2006/relationships/tags" Target="../tags/tag657.xml"/><Relationship Id="rId6" Type="http://schemas.openxmlformats.org/officeDocument/2006/relationships/tags" Target="../tags/tag662.xml"/><Relationship Id="rId11" Type="http://schemas.openxmlformats.org/officeDocument/2006/relationships/image" Target="../media/image21.emf"/><Relationship Id="rId5" Type="http://schemas.openxmlformats.org/officeDocument/2006/relationships/tags" Target="../tags/tag661.xml"/><Relationship Id="rId10" Type="http://schemas.openxmlformats.org/officeDocument/2006/relationships/oleObject" Target="../embeddings/oleObject156.bin"/><Relationship Id="rId4" Type="http://schemas.openxmlformats.org/officeDocument/2006/relationships/tags" Target="../tags/tag660.xml"/><Relationship Id="rId9" Type="http://schemas.openxmlformats.org/officeDocument/2006/relationships/slideMaster" Target="../slideMasters/slideMaster3.xml"/></Relationships>
</file>

<file path=ppt/slideLayouts/_rels/slideLayout223.xml.rels><?xml version="1.0" encoding="UTF-8" standalone="yes"?>
<Relationships xmlns="http://schemas.openxmlformats.org/package/2006/relationships"><Relationship Id="rId8" Type="http://schemas.openxmlformats.org/officeDocument/2006/relationships/tags" Target="../tags/tag672.xml"/><Relationship Id="rId3" Type="http://schemas.openxmlformats.org/officeDocument/2006/relationships/tags" Target="../tags/tag667.xml"/><Relationship Id="rId7" Type="http://schemas.openxmlformats.org/officeDocument/2006/relationships/tags" Target="../tags/tag671.xml"/><Relationship Id="rId2" Type="http://schemas.openxmlformats.org/officeDocument/2006/relationships/tags" Target="../tags/tag666.xml"/><Relationship Id="rId1" Type="http://schemas.openxmlformats.org/officeDocument/2006/relationships/tags" Target="../tags/tag665.xml"/><Relationship Id="rId6" Type="http://schemas.openxmlformats.org/officeDocument/2006/relationships/tags" Target="../tags/tag670.xml"/><Relationship Id="rId11" Type="http://schemas.openxmlformats.org/officeDocument/2006/relationships/image" Target="../media/image22.emf"/><Relationship Id="rId5" Type="http://schemas.openxmlformats.org/officeDocument/2006/relationships/tags" Target="../tags/tag669.xml"/><Relationship Id="rId10" Type="http://schemas.openxmlformats.org/officeDocument/2006/relationships/oleObject" Target="../embeddings/oleObject157.bin"/><Relationship Id="rId4" Type="http://schemas.openxmlformats.org/officeDocument/2006/relationships/tags" Target="../tags/tag668.xml"/><Relationship Id="rId9" Type="http://schemas.openxmlformats.org/officeDocument/2006/relationships/slideMaster" Target="../slideMasters/slideMaster3.xml"/></Relationships>
</file>

<file path=ppt/slideLayouts/_rels/slideLayout224.xml.rels><?xml version="1.0" encoding="UTF-8" standalone="yes"?>
<Relationships xmlns="http://schemas.openxmlformats.org/package/2006/relationships"><Relationship Id="rId8" Type="http://schemas.openxmlformats.org/officeDocument/2006/relationships/tags" Target="../tags/tag680.xml"/><Relationship Id="rId3" Type="http://schemas.openxmlformats.org/officeDocument/2006/relationships/tags" Target="../tags/tag675.xml"/><Relationship Id="rId7" Type="http://schemas.openxmlformats.org/officeDocument/2006/relationships/tags" Target="../tags/tag679.xml"/><Relationship Id="rId2" Type="http://schemas.openxmlformats.org/officeDocument/2006/relationships/tags" Target="../tags/tag674.xml"/><Relationship Id="rId1" Type="http://schemas.openxmlformats.org/officeDocument/2006/relationships/tags" Target="../tags/tag673.xml"/><Relationship Id="rId6" Type="http://schemas.openxmlformats.org/officeDocument/2006/relationships/tags" Target="../tags/tag678.xml"/><Relationship Id="rId11" Type="http://schemas.openxmlformats.org/officeDocument/2006/relationships/image" Target="../media/image21.emf"/><Relationship Id="rId5" Type="http://schemas.openxmlformats.org/officeDocument/2006/relationships/tags" Target="../tags/tag677.xml"/><Relationship Id="rId10" Type="http://schemas.openxmlformats.org/officeDocument/2006/relationships/oleObject" Target="../embeddings/oleObject158.bin"/><Relationship Id="rId4" Type="http://schemas.openxmlformats.org/officeDocument/2006/relationships/tags" Target="../tags/tag676.xml"/><Relationship Id="rId9" Type="http://schemas.openxmlformats.org/officeDocument/2006/relationships/slideMaster" Target="../slideMasters/slideMaster3.xml"/></Relationships>
</file>

<file path=ppt/slideLayouts/_rels/slideLayout22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683.xml"/><Relationship Id="rId7" Type="http://schemas.openxmlformats.org/officeDocument/2006/relationships/tags" Target="../tags/tag687.xml"/><Relationship Id="rId2" Type="http://schemas.openxmlformats.org/officeDocument/2006/relationships/tags" Target="../tags/tag682.xml"/><Relationship Id="rId1" Type="http://schemas.openxmlformats.org/officeDocument/2006/relationships/tags" Target="../tags/tag681.xml"/><Relationship Id="rId6" Type="http://schemas.openxmlformats.org/officeDocument/2006/relationships/tags" Target="../tags/tag686.xml"/><Relationship Id="rId5" Type="http://schemas.openxmlformats.org/officeDocument/2006/relationships/tags" Target="../tags/tag685.xml"/><Relationship Id="rId10" Type="http://schemas.openxmlformats.org/officeDocument/2006/relationships/image" Target="../media/image22.emf"/><Relationship Id="rId4" Type="http://schemas.openxmlformats.org/officeDocument/2006/relationships/tags" Target="../tags/tag684.xml"/><Relationship Id="rId9" Type="http://schemas.openxmlformats.org/officeDocument/2006/relationships/oleObject" Target="../embeddings/oleObject159.bin"/></Relationships>
</file>

<file path=ppt/slideLayouts/_rels/slideLayout226.xml.rels><?xml version="1.0" encoding="UTF-8" standalone="yes"?>
<Relationships xmlns="http://schemas.openxmlformats.org/package/2006/relationships"><Relationship Id="rId8" Type="http://schemas.openxmlformats.org/officeDocument/2006/relationships/tags" Target="../tags/tag695.xml"/><Relationship Id="rId3" Type="http://schemas.openxmlformats.org/officeDocument/2006/relationships/tags" Target="../tags/tag690.xml"/><Relationship Id="rId7" Type="http://schemas.openxmlformats.org/officeDocument/2006/relationships/tags" Target="../tags/tag694.xml"/><Relationship Id="rId2" Type="http://schemas.openxmlformats.org/officeDocument/2006/relationships/tags" Target="../tags/tag689.xml"/><Relationship Id="rId1" Type="http://schemas.openxmlformats.org/officeDocument/2006/relationships/tags" Target="../tags/tag688.xml"/><Relationship Id="rId6" Type="http://schemas.openxmlformats.org/officeDocument/2006/relationships/tags" Target="../tags/tag693.xml"/><Relationship Id="rId11" Type="http://schemas.openxmlformats.org/officeDocument/2006/relationships/image" Target="../media/image22.emf"/><Relationship Id="rId5" Type="http://schemas.openxmlformats.org/officeDocument/2006/relationships/tags" Target="../tags/tag692.xml"/><Relationship Id="rId10" Type="http://schemas.openxmlformats.org/officeDocument/2006/relationships/oleObject" Target="../embeddings/oleObject160.bin"/><Relationship Id="rId4" Type="http://schemas.openxmlformats.org/officeDocument/2006/relationships/tags" Target="../tags/tag691.xml"/><Relationship Id="rId9" Type="http://schemas.openxmlformats.org/officeDocument/2006/relationships/slideMaster" Target="../slideMasters/slideMaster3.xml"/></Relationships>
</file>

<file path=ppt/slideLayouts/_rels/slideLayout227.xml.rels><?xml version="1.0" encoding="UTF-8" standalone="yes"?>
<Relationships xmlns="http://schemas.openxmlformats.org/package/2006/relationships"><Relationship Id="rId8" Type="http://schemas.openxmlformats.org/officeDocument/2006/relationships/tags" Target="../tags/tag703.xml"/><Relationship Id="rId3" Type="http://schemas.openxmlformats.org/officeDocument/2006/relationships/tags" Target="../tags/tag698.xml"/><Relationship Id="rId7" Type="http://schemas.openxmlformats.org/officeDocument/2006/relationships/tags" Target="../tags/tag702.xml"/><Relationship Id="rId2" Type="http://schemas.openxmlformats.org/officeDocument/2006/relationships/tags" Target="../tags/tag697.xml"/><Relationship Id="rId1" Type="http://schemas.openxmlformats.org/officeDocument/2006/relationships/tags" Target="../tags/tag696.xml"/><Relationship Id="rId6" Type="http://schemas.openxmlformats.org/officeDocument/2006/relationships/tags" Target="../tags/tag701.xml"/><Relationship Id="rId11" Type="http://schemas.openxmlformats.org/officeDocument/2006/relationships/image" Target="../media/image21.emf"/><Relationship Id="rId5" Type="http://schemas.openxmlformats.org/officeDocument/2006/relationships/tags" Target="../tags/tag700.xml"/><Relationship Id="rId10" Type="http://schemas.openxmlformats.org/officeDocument/2006/relationships/oleObject" Target="../embeddings/oleObject161.bin"/><Relationship Id="rId4" Type="http://schemas.openxmlformats.org/officeDocument/2006/relationships/tags" Target="../tags/tag699.xml"/><Relationship Id="rId9" Type="http://schemas.openxmlformats.org/officeDocument/2006/relationships/slideMaster" Target="../slideMasters/slideMaster3.xml"/></Relationships>
</file>

<file path=ppt/slideLayouts/_rels/slideLayout228.xml.rels><?xml version="1.0" encoding="UTF-8" standalone="yes"?>
<Relationships xmlns="http://schemas.openxmlformats.org/package/2006/relationships"><Relationship Id="rId8" Type="http://schemas.openxmlformats.org/officeDocument/2006/relationships/tags" Target="../tags/tag711.xml"/><Relationship Id="rId3" Type="http://schemas.openxmlformats.org/officeDocument/2006/relationships/tags" Target="../tags/tag706.xml"/><Relationship Id="rId7" Type="http://schemas.openxmlformats.org/officeDocument/2006/relationships/tags" Target="../tags/tag710.xml"/><Relationship Id="rId2" Type="http://schemas.openxmlformats.org/officeDocument/2006/relationships/tags" Target="../tags/tag705.xml"/><Relationship Id="rId1" Type="http://schemas.openxmlformats.org/officeDocument/2006/relationships/tags" Target="../tags/tag704.xml"/><Relationship Id="rId6" Type="http://schemas.openxmlformats.org/officeDocument/2006/relationships/tags" Target="../tags/tag709.xml"/><Relationship Id="rId11" Type="http://schemas.openxmlformats.org/officeDocument/2006/relationships/image" Target="../media/image22.emf"/><Relationship Id="rId5" Type="http://schemas.openxmlformats.org/officeDocument/2006/relationships/tags" Target="../tags/tag708.xml"/><Relationship Id="rId10" Type="http://schemas.openxmlformats.org/officeDocument/2006/relationships/oleObject" Target="../embeddings/oleObject162.bin"/><Relationship Id="rId4" Type="http://schemas.openxmlformats.org/officeDocument/2006/relationships/tags" Target="../tags/tag707.xml"/><Relationship Id="rId9" Type="http://schemas.openxmlformats.org/officeDocument/2006/relationships/slideMaster" Target="../slideMasters/slideMaster3.xml"/></Relationships>
</file>

<file path=ppt/slideLayouts/_rels/slideLayout22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3.bin"/><Relationship Id="rId3" Type="http://schemas.openxmlformats.org/officeDocument/2006/relationships/tags" Target="../tags/tag714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713.xml"/><Relationship Id="rId1" Type="http://schemas.openxmlformats.org/officeDocument/2006/relationships/tags" Target="../tags/tag712.xml"/><Relationship Id="rId6" Type="http://schemas.openxmlformats.org/officeDocument/2006/relationships/tags" Target="../tags/tag717.xml"/><Relationship Id="rId5" Type="http://schemas.openxmlformats.org/officeDocument/2006/relationships/tags" Target="../tags/tag716.xml"/><Relationship Id="rId4" Type="http://schemas.openxmlformats.org/officeDocument/2006/relationships/tags" Target="../tags/tag715.xml"/><Relationship Id="rId9" Type="http://schemas.openxmlformats.org/officeDocument/2006/relationships/image" Target="../media/image22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tags" Target="../tags/tag720.xml"/><Relationship Id="rId7" Type="http://schemas.openxmlformats.org/officeDocument/2006/relationships/image" Target="../media/image22.emf"/><Relationship Id="rId2" Type="http://schemas.openxmlformats.org/officeDocument/2006/relationships/tags" Target="../tags/tag719.xml"/><Relationship Id="rId1" Type="http://schemas.openxmlformats.org/officeDocument/2006/relationships/tags" Target="../tags/tag718.xml"/><Relationship Id="rId6" Type="http://schemas.openxmlformats.org/officeDocument/2006/relationships/oleObject" Target="../embeddings/oleObject164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721.xml"/></Relationships>
</file>

<file path=ppt/slideLayouts/_rels/slideLayout23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724.xml"/><Relationship Id="rId7" Type="http://schemas.openxmlformats.org/officeDocument/2006/relationships/tags" Target="../tags/tag728.xml"/><Relationship Id="rId2" Type="http://schemas.openxmlformats.org/officeDocument/2006/relationships/tags" Target="../tags/tag723.xml"/><Relationship Id="rId1" Type="http://schemas.openxmlformats.org/officeDocument/2006/relationships/tags" Target="../tags/tag722.xml"/><Relationship Id="rId6" Type="http://schemas.openxmlformats.org/officeDocument/2006/relationships/tags" Target="../tags/tag727.xml"/><Relationship Id="rId5" Type="http://schemas.openxmlformats.org/officeDocument/2006/relationships/tags" Target="../tags/tag726.xml"/><Relationship Id="rId10" Type="http://schemas.openxmlformats.org/officeDocument/2006/relationships/image" Target="../media/image21.emf"/><Relationship Id="rId4" Type="http://schemas.openxmlformats.org/officeDocument/2006/relationships/tags" Target="../tags/tag725.xml"/><Relationship Id="rId9" Type="http://schemas.openxmlformats.org/officeDocument/2006/relationships/oleObject" Target="../embeddings/oleObject165.bin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29.xml"/><Relationship Id="rId4" Type="http://schemas.openxmlformats.org/officeDocument/2006/relationships/image" Target="../media/image33.emf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35.svg"/><Relationship Id="rId7" Type="http://schemas.openxmlformats.org/officeDocument/2006/relationships/image" Target="../media/image12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1.png"/><Relationship Id="rId11" Type="http://schemas.openxmlformats.org/officeDocument/2006/relationships/image" Target="../media/image16.svg"/><Relationship Id="rId5" Type="http://schemas.openxmlformats.org/officeDocument/2006/relationships/image" Target="../media/image10.svg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14.sv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6.svg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2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29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34.svg"/><Relationship Id="rId7" Type="http://schemas.openxmlformats.org/officeDocument/2006/relationships/image" Target="../media/image3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1.png"/><Relationship Id="rId11" Type="http://schemas.openxmlformats.org/officeDocument/2006/relationships/image" Target="../media/image41.svg"/><Relationship Id="rId5" Type="http://schemas.openxmlformats.org/officeDocument/2006/relationships/image" Target="../media/image38.svg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40.svg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4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3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3.svg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5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5.xml"/></Relationships>
</file>

<file path=ppt/slideLayouts/_rels/slideLayout3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7.svg"/></Relationships>
</file>

<file path=ppt/slideLayouts/_rels/slideLayout3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8.sv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1.png"/><Relationship Id="rId11" Type="http://schemas.openxmlformats.org/officeDocument/2006/relationships/image" Target="../media/image16.svg"/><Relationship Id="rId5" Type="http://schemas.openxmlformats.org/officeDocument/2006/relationships/image" Target="../media/image10.svg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14.sv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0.sv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24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5" Type="http://schemas.openxmlformats.org/officeDocument/2006/relationships/tags" Target="../tags/tag26.xml"/><Relationship Id="rId4" Type="http://schemas.openxmlformats.org/officeDocument/2006/relationships/tags" Target="../tags/tag25.xml"/><Relationship Id="rId9" Type="http://schemas.openxmlformats.org/officeDocument/2006/relationships/image" Target="../media/image22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image" Target="../media/image24.png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48.xml"/><Relationship Id="rId7" Type="http://schemas.openxmlformats.org/officeDocument/2006/relationships/image" Target="../media/image23.emf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49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7" Type="http://schemas.openxmlformats.org/officeDocument/2006/relationships/image" Target="../media/image24.png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24.png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7" Type="http://schemas.openxmlformats.org/officeDocument/2006/relationships/image" Target="../media/image24.png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tags" Target="../tags/tag60.xml"/><Relationship Id="rId7" Type="http://schemas.openxmlformats.org/officeDocument/2006/relationships/image" Target="../media/image23.emf"/><Relationship Id="rId2" Type="http://schemas.openxmlformats.org/officeDocument/2006/relationships/tags" Target="../tags/tag59.x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6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7" Type="http://schemas.openxmlformats.org/officeDocument/2006/relationships/image" Target="../media/image26.png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tags" Target="../tags/tag66.xml"/><Relationship Id="rId7" Type="http://schemas.openxmlformats.org/officeDocument/2006/relationships/image" Target="../media/image27.emf"/><Relationship Id="rId2" Type="http://schemas.openxmlformats.org/officeDocument/2006/relationships/tags" Target="../tags/tag65.xml"/><Relationship Id="rId1" Type="http://schemas.openxmlformats.org/officeDocument/2006/relationships/themeOverride" Target="../theme/themeOverride2.xml"/><Relationship Id="rId6" Type="http://schemas.openxmlformats.org/officeDocument/2006/relationships/oleObject" Target="../embeddings/oleObject15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67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7" Type="http://schemas.openxmlformats.org/officeDocument/2006/relationships/image" Target="../media/image26.png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emf"/><Relationship Id="rId3" Type="http://schemas.openxmlformats.org/officeDocument/2006/relationships/tags" Target="../tags/tag72.xml"/><Relationship Id="rId7" Type="http://schemas.openxmlformats.org/officeDocument/2006/relationships/oleObject" Target="../embeddings/oleObject17.bin"/><Relationship Id="rId2" Type="http://schemas.openxmlformats.org/officeDocument/2006/relationships/tags" Target="../tags/tag71.xml"/><Relationship Id="rId1" Type="http://schemas.openxmlformats.org/officeDocument/2006/relationships/themeOverride" Target="../theme/themeOverride3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74.xml"/><Relationship Id="rId4" Type="http://schemas.openxmlformats.org/officeDocument/2006/relationships/tags" Target="../tags/tag73.xml"/><Relationship Id="rId9" Type="http://schemas.openxmlformats.org/officeDocument/2006/relationships/image" Target="../media/image25.png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ags" Target="../tags/tag77.xml"/><Relationship Id="rId7" Type="http://schemas.openxmlformats.org/officeDocument/2006/relationships/image" Target="../media/image23.emf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oleObject" Target="../embeddings/oleObject18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78.xml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emf"/><Relationship Id="rId3" Type="http://schemas.openxmlformats.org/officeDocument/2006/relationships/tags" Target="../tags/tag80.xml"/><Relationship Id="rId7" Type="http://schemas.openxmlformats.org/officeDocument/2006/relationships/oleObject" Target="../embeddings/oleObject19.bin"/><Relationship Id="rId2" Type="http://schemas.openxmlformats.org/officeDocument/2006/relationships/tags" Target="../tags/tag79.xml"/><Relationship Id="rId1" Type="http://schemas.openxmlformats.org/officeDocument/2006/relationships/themeOverride" Target="../theme/themeOverride4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82.xml"/><Relationship Id="rId4" Type="http://schemas.openxmlformats.org/officeDocument/2006/relationships/tags" Target="../tags/tag81.xml"/><Relationship Id="rId9" Type="http://schemas.openxmlformats.org/officeDocument/2006/relationships/image" Target="../media/image25.png"/></Relationships>
</file>

<file path=ppt/slideLayouts/_rels/slideLayout8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ags" Target="../tags/tag85.xml"/><Relationship Id="rId7" Type="http://schemas.openxmlformats.org/officeDocument/2006/relationships/image" Target="../media/image23.emf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oleObject" Target="../embeddings/oleObject20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86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7" Type="http://schemas.openxmlformats.org/officeDocument/2006/relationships/image" Target="../media/image23.emf"/><Relationship Id="rId2" Type="http://schemas.openxmlformats.org/officeDocument/2006/relationships/tags" Target="../tags/tag87.xml"/><Relationship Id="rId1" Type="http://schemas.openxmlformats.org/officeDocument/2006/relationships/themeOverride" Target="../theme/themeOverride5.xml"/><Relationship Id="rId6" Type="http://schemas.openxmlformats.org/officeDocument/2006/relationships/oleObject" Target="../embeddings/oleObject21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89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7" Type="http://schemas.openxmlformats.org/officeDocument/2006/relationships/image" Target="../media/image29.png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27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tags" Target="../tags/tag98.xml"/><Relationship Id="rId7" Type="http://schemas.openxmlformats.org/officeDocument/2006/relationships/image" Target="../media/image23.emf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oleObject" Target="../embeddings/oleObject24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99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25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7" Type="http://schemas.openxmlformats.org/officeDocument/2006/relationships/image" Target="../media/image23.emf"/><Relationship Id="rId2" Type="http://schemas.openxmlformats.org/officeDocument/2006/relationships/tags" Target="../tags/tag102.xml"/><Relationship Id="rId1" Type="http://schemas.openxmlformats.org/officeDocument/2006/relationships/themeOverride" Target="../theme/themeOverride6.xml"/><Relationship Id="rId6" Type="http://schemas.openxmlformats.org/officeDocument/2006/relationships/oleObject" Target="../embeddings/oleObject26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04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27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7.xml"/><Relationship Id="rId4" Type="http://schemas.openxmlformats.org/officeDocument/2006/relationships/image" Target="../media/image30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8.xml"/><Relationship Id="rId4" Type="http://schemas.openxmlformats.org/officeDocument/2006/relationships/image" Target="../media/image23.emf"/></Relationships>
</file>

<file path=ppt/slideLayouts/_rels/slideLayout9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emf"/><Relationship Id="rId3" Type="http://schemas.openxmlformats.org/officeDocument/2006/relationships/tags" Target="../tags/tag111.xml"/><Relationship Id="rId7" Type="http://schemas.openxmlformats.org/officeDocument/2006/relationships/oleObject" Target="../embeddings/oleObject30.bin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13.xml"/><Relationship Id="rId4" Type="http://schemas.openxmlformats.org/officeDocument/2006/relationships/tags" Target="../tags/tag112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tags" Target="../tags/tag116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tags" Target="../tags/tag122.xml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13">
            <a:extLst>
              <a:ext uri="{FF2B5EF4-FFF2-40B4-BE49-F238E27FC236}">
                <a16:creationId xmlns:a16="http://schemas.microsoft.com/office/drawing/2014/main" id="{52467373-D57C-F842-8976-B87DEFBE83B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361533" y="441777"/>
            <a:ext cx="1304260" cy="48768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4F144B-74C7-A148-8E87-6034061E0CB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8" y="1920394"/>
            <a:ext cx="7964947" cy="234609"/>
          </a:xfrm>
        </p:spPr>
        <p:txBody>
          <a:bodyPr>
            <a:normAutofit/>
          </a:bodyPr>
          <a:lstStyle>
            <a:lvl1pPr>
              <a:defRPr sz="1600" spc="3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89FFAF13-E12B-E54E-B2B2-5142A884DB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2605179"/>
            <a:ext cx="11154344" cy="192903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defRPr sz="6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878A746-9E85-F24C-AD58-8F45F83396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6302341"/>
            <a:ext cx="5832475" cy="187359"/>
          </a:xfrm>
        </p:spPr>
        <p:txBody>
          <a:bodyPr anchor="b">
            <a:spAutoFit/>
          </a:bodyPr>
          <a:lstStyle>
            <a:lvl1pPr>
              <a:defRPr sz="1200" spc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7AFD6BA4-8A31-2C45-81C0-67141C06959C}"/>
              </a:ext>
            </a:extLst>
          </p:cNvPr>
          <p:cNvSpPr txBox="1">
            <a:spLocks/>
          </p:cNvSpPr>
          <p:nvPr userDrawn="1"/>
        </p:nvSpPr>
        <p:spPr>
          <a:xfrm>
            <a:off x="10367425" y="6173816"/>
            <a:ext cx="1303626" cy="315884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GB" sz="1800" b="1">
                <a:solidFill>
                  <a:schemeClr val="bg2"/>
                </a:solidFill>
              </a:rPr>
              <a:t>gavi.org</a:t>
            </a:r>
          </a:p>
        </p:txBody>
      </p:sp>
    </p:spTree>
    <p:extLst>
      <p:ext uri="{BB962C8B-B14F-4D97-AF65-F5344CB8AC3E}">
        <p14:creationId xmlns:p14="http://schemas.microsoft.com/office/powerpoint/2010/main" val="40791699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Image A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13">
            <a:extLst>
              <a:ext uri="{FF2B5EF4-FFF2-40B4-BE49-F238E27FC236}">
                <a16:creationId xmlns:a16="http://schemas.microsoft.com/office/drawing/2014/main" id="{85DA45A5-9E96-A540-A7CB-C6C50E73A7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5558"/>
            <a:ext cx="1304260" cy="480118"/>
          </a:xfrm>
          <a:prstGeom prst="rect">
            <a:avLst/>
          </a:prstGeom>
        </p:spPr>
      </p:pic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343EB15E-A314-36FE-8F19-4C79176CF3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" y="0"/>
            <a:ext cx="6096001" cy="6858000"/>
          </a:xfrm>
          <a:custGeom>
            <a:avLst/>
            <a:gdLst>
              <a:gd name="connsiteX0" fmla="*/ 2264571 w 6096001"/>
              <a:gd name="connsiteY0" fmla="*/ 1883188 h 6858000"/>
              <a:gd name="connsiteX1" fmla="*/ 2167943 w 6096001"/>
              <a:gd name="connsiteY1" fmla="*/ 3625805 h 6858000"/>
              <a:gd name="connsiteX2" fmla="*/ 2578239 w 6096001"/>
              <a:gd name="connsiteY2" fmla="*/ 3754069 h 6858000"/>
              <a:gd name="connsiteX3" fmla="*/ 3056918 w 6096001"/>
              <a:gd name="connsiteY3" fmla="*/ 3625805 h 6858000"/>
              <a:gd name="connsiteX4" fmla="*/ 3638171 w 6096001"/>
              <a:gd name="connsiteY4" fmla="*/ 4124117 h 6858000"/>
              <a:gd name="connsiteX5" fmla="*/ 3047999 w 6096001"/>
              <a:gd name="connsiteY5" fmla="*/ 4644543 h 6858000"/>
              <a:gd name="connsiteX6" fmla="*/ 2222946 w 6096001"/>
              <a:gd name="connsiteY6" fmla="*/ 4342313 h 6858000"/>
              <a:gd name="connsiteX7" fmla="*/ 1933063 w 6096001"/>
              <a:gd name="connsiteY7" fmla="*/ 4822933 h 6858000"/>
              <a:gd name="connsiteX8" fmla="*/ 3058405 w 6096001"/>
              <a:gd name="connsiteY8" fmla="*/ 5175290 h 6858000"/>
              <a:gd name="connsiteX9" fmla="*/ 4229830 w 6096001"/>
              <a:gd name="connsiteY9" fmla="*/ 4110849 h 6858000"/>
              <a:gd name="connsiteX10" fmla="*/ 3178818 w 6096001"/>
              <a:gd name="connsiteY10" fmla="*/ 3114225 h 6858000"/>
              <a:gd name="connsiteX11" fmla="*/ 2689733 w 6096001"/>
              <a:gd name="connsiteY11" fmla="*/ 3214477 h 6858000"/>
              <a:gd name="connsiteX12" fmla="*/ 2744736 w 6096001"/>
              <a:gd name="connsiteY12" fmla="*/ 2409511 h 6858000"/>
              <a:gd name="connsiteX13" fmla="*/ 4026169 w 6096001"/>
              <a:gd name="connsiteY13" fmla="*/ 2409511 h 6858000"/>
              <a:gd name="connsiteX14" fmla="*/ 4026169 w 6096001"/>
              <a:gd name="connsiteY14" fmla="*/ 1883188 h 6858000"/>
              <a:gd name="connsiteX15" fmla="*/ 0 w 6096001"/>
              <a:gd name="connsiteY15" fmla="*/ 0 h 6858000"/>
              <a:gd name="connsiteX16" fmla="*/ 5214397 w 6096001"/>
              <a:gd name="connsiteY16" fmla="*/ 0 h 6858000"/>
              <a:gd name="connsiteX17" fmla="*/ 6096001 w 6096001"/>
              <a:gd name="connsiteY17" fmla="*/ 881604 h 6858000"/>
              <a:gd name="connsiteX18" fmla="*/ 6096001 w 6096001"/>
              <a:gd name="connsiteY18" fmla="*/ 6858000 h 6858000"/>
              <a:gd name="connsiteX19" fmla="*/ 0 w 6096001"/>
              <a:gd name="connsiteY19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6096001" h="6858000">
                <a:moveTo>
                  <a:pt x="2264571" y="1883188"/>
                </a:moveTo>
                <a:lnTo>
                  <a:pt x="2167943" y="3625805"/>
                </a:lnTo>
                <a:lnTo>
                  <a:pt x="2578239" y="3754069"/>
                </a:lnTo>
                <a:cubicBezTo>
                  <a:pt x="2706085" y="3671508"/>
                  <a:pt x="2863663" y="3625805"/>
                  <a:pt x="3056918" y="3625805"/>
                </a:cubicBezTo>
                <a:cubicBezTo>
                  <a:pt x="3412211" y="3625805"/>
                  <a:pt x="3638171" y="3814515"/>
                  <a:pt x="3638171" y="4124117"/>
                </a:cubicBezTo>
                <a:cubicBezTo>
                  <a:pt x="3638171" y="4433719"/>
                  <a:pt x="3412211" y="4644543"/>
                  <a:pt x="3047999" y="4644543"/>
                </a:cubicBezTo>
                <a:cubicBezTo>
                  <a:pt x="2720951" y="4644543"/>
                  <a:pt x="2435527" y="4511857"/>
                  <a:pt x="2222946" y="4342313"/>
                </a:cubicBezTo>
                <a:lnTo>
                  <a:pt x="1933063" y="4822933"/>
                </a:lnTo>
                <a:cubicBezTo>
                  <a:pt x="2173889" y="5024912"/>
                  <a:pt x="2542561" y="5175290"/>
                  <a:pt x="3058405" y="5175290"/>
                </a:cubicBezTo>
                <a:cubicBezTo>
                  <a:pt x="3755611" y="5175290"/>
                  <a:pt x="4229830" y="4728578"/>
                  <a:pt x="4229830" y="4110849"/>
                </a:cubicBezTo>
                <a:cubicBezTo>
                  <a:pt x="4229830" y="3493119"/>
                  <a:pt x="3801695" y="3114225"/>
                  <a:pt x="3178818" y="3114225"/>
                </a:cubicBezTo>
                <a:cubicBezTo>
                  <a:pt x="3007861" y="3114225"/>
                  <a:pt x="2810146" y="3155505"/>
                  <a:pt x="2689733" y="3214477"/>
                </a:cubicBezTo>
                <a:lnTo>
                  <a:pt x="2744736" y="2409511"/>
                </a:lnTo>
                <a:lnTo>
                  <a:pt x="4026169" y="2409511"/>
                </a:lnTo>
                <a:lnTo>
                  <a:pt x="4026169" y="1883188"/>
                </a:lnTo>
                <a:close/>
                <a:moveTo>
                  <a:pt x="0" y="0"/>
                </a:moveTo>
                <a:lnTo>
                  <a:pt x="5214397" y="0"/>
                </a:lnTo>
                <a:cubicBezTo>
                  <a:pt x="5701293" y="0"/>
                  <a:pt x="6096001" y="394708"/>
                  <a:pt x="6096001" y="881604"/>
                </a:cubicBezTo>
                <a:lnTo>
                  <a:pt x="60960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ext Placeholder 29">
            <a:extLst>
              <a:ext uri="{FF2B5EF4-FFF2-40B4-BE49-F238E27FC236}">
                <a16:creationId xmlns:a16="http://schemas.microsoft.com/office/drawing/2014/main" id="{44E4F9BB-131C-DA11-8330-1278532DD3C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9" name="Text Placeholder 31">
            <a:extLst>
              <a:ext uri="{FF2B5EF4-FFF2-40B4-BE49-F238E27FC236}">
                <a16:creationId xmlns:a16="http://schemas.microsoft.com/office/drawing/2014/main" id="{26A6169B-562B-8F66-2B5C-19489101B69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117389960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54735" y="2668041"/>
            <a:ext cx="11082528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082F3B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554736" y="1424081"/>
            <a:ext cx="951721" cy="951721"/>
          </a:xfrm>
          <a:prstGeom prst="rect">
            <a:avLst/>
          </a:prstGeom>
          <a:noFill/>
          <a:ln>
            <a:solidFill>
              <a:srgbClr val="082F3B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99008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54736" y="3826800"/>
            <a:ext cx="11082528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554736" y="3680016"/>
            <a:ext cx="11633851" cy="0"/>
          </a:xfrm>
          <a:prstGeom prst="line">
            <a:avLst/>
          </a:prstGeom>
          <a:ln w="19050" cmpd="sng">
            <a:solidFill>
              <a:srgbClr val="082F3B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655357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554736" y="2681103"/>
            <a:ext cx="3203145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7" y="41597"/>
            <a:ext cx="1941395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37593380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7" y="197613"/>
            <a:ext cx="635179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40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800089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197613"/>
            <a:ext cx="824330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40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9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74922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554736" y="2681103"/>
            <a:ext cx="3203145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7" y="41597"/>
            <a:ext cx="1941395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64137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54736" y="1785600"/>
            <a:ext cx="4463664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01280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-1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54736" y="1785600"/>
            <a:ext cx="63237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11433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24" imgH="324" progId="TCLayout.ActiveDocument.1">
                  <p:embed/>
                </p:oleObj>
              </mc:Choice>
              <mc:Fallback>
                <p:oleObj name="think-cell Slide" r:id="rId6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554736" y="2764203"/>
            <a:ext cx="2553902" cy="1314311"/>
          </a:xfrm>
        </p:spPr>
        <p:txBody>
          <a:bodyPr vert="horz" anchor="ctr" anchorCtr="0">
            <a:noAutofit/>
          </a:bodyPr>
          <a:lstStyle>
            <a:lvl1pPr>
              <a:defRPr sz="2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1292152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90550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82F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54736" y="2764203"/>
            <a:ext cx="2553902" cy="1314311"/>
          </a:xfrm>
        </p:spPr>
        <p:txBody>
          <a:bodyPr vert="horz" anchor="ctr" anchorCtr="0">
            <a:noAutofit/>
          </a:bodyPr>
          <a:lstStyle>
            <a:lvl1pPr>
              <a:defRPr sz="24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2" name="TextBox 11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1292152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3445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Image A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1BA5AB5-3C92-5003-411D-080017FB62F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" y="0"/>
            <a:ext cx="6096001" cy="6858000"/>
          </a:xfrm>
          <a:custGeom>
            <a:avLst/>
            <a:gdLst>
              <a:gd name="connsiteX0" fmla="*/ 3077268 w 6096001"/>
              <a:gd name="connsiteY0" fmla="*/ 3517274 h 6858000"/>
              <a:gd name="connsiteX1" fmla="*/ 3608256 w 6096001"/>
              <a:gd name="connsiteY1" fmla="*/ 4024085 h 6858000"/>
              <a:gd name="connsiteX2" fmla="*/ 3609649 w 6096001"/>
              <a:gd name="connsiteY2" fmla="*/ 4025458 h 6858000"/>
              <a:gd name="connsiteX3" fmla="*/ 3064725 w 6096001"/>
              <a:gd name="connsiteY3" fmla="*/ 4548751 h 6858000"/>
              <a:gd name="connsiteX4" fmla="*/ 2503076 w 6096001"/>
              <a:gd name="connsiteY4" fmla="*/ 3973266 h 6858000"/>
              <a:gd name="connsiteX5" fmla="*/ 3077268 w 6096001"/>
              <a:gd name="connsiteY5" fmla="*/ 3517274 h 6858000"/>
              <a:gd name="connsiteX6" fmla="*/ 3834030 w 6096001"/>
              <a:gd name="connsiteY6" fmla="*/ 1925421 h 6858000"/>
              <a:gd name="connsiteX7" fmla="*/ 1945608 w 6096001"/>
              <a:gd name="connsiteY7" fmla="*/ 3731535 h 6858000"/>
              <a:gd name="connsiteX8" fmla="*/ 3085630 w 6096001"/>
              <a:gd name="connsiteY8" fmla="*/ 5025345 h 6858000"/>
              <a:gd name="connsiteX9" fmla="*/ 4148999 w 6096001"/>
              <a:gd name="connsiteY9" fmla="*/ 4015844 h 6858000"/>
              <a:gd name="connsiteX10" fmla="*/ 4150393 w 6096001"/>
              <a:gd name="connsiteY10" fmla="*/ 4015844 h 6858000"/>
              <a:gd name="connsiteX11" fmla="*/ 3195730 w 6096001"/>
              <a:gd name="connsiteY11" fmla="*/ 3083257 h 6858000"/>
              <a:gd name="connsiteX12" fmla="*/ 2525374 w 6096001"/>
              <a:gd name="connsiteY12" fmla="*/ 3338723 h 6858000"/>
              <a:gd name="connsiteX13" fmla="*/ 3946917 w 6096001"/>
              <a:gd name="connsiteY13" fmla="*/ 2402015 h 6858000"/>
              <a:gd name="connsiteX14" fmla="*/ 0 w 6096001"/>
              <a:gd name="connsiteY14" fmla="*/ 0 h 6858000"/>
              <a:gd name="connsiteX15" fmla="*/ 5214397 w 6096001"/>
              <a:gd name="connsiteY15" fmla="*/ 0 h 6858000"/>
              <a:gd name="connsiteX16" fmla="*/ 6096001 w 6096001"/>
              <a:gd name="connsiteY16" fmla="*/ 881604 h 6858000"/>
              <a:gd name="connsiteX17" fmla="*/ 6096001 w 6096001"/>
              <a:gd name="connsiteY17" fmla="*/ 6858000 h 6858000"/>
              <a:gd name="connsiteX18" fmla="*/ 0 w 6096001"/>
              <a:gd name="connsiteY1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6096001" h="6858000">
                <a:moveTo>
                  <a:pt x="3077268" y="3517274"/>
                </a:moveTo>
                <a:cubicBezTo>
                  <a:pt x="3396418" y="3517274"/>
                  <a:pt x="3608256" y="3704066"/>
                  <a:pt x="3608256" y="4024085"/>
                </a:cubicBezTo>
                <a:lnTo>
                  <a:pt x="3609649" y="4025458"/>
                </a:lnTo>
                <a:cubicBezTo>
                  <a:pt x="3609649" y="4352344"/>
                  <a:pt x="3379694" y="4548751"/>
                  <a:pt x="3064725" y="4548751"/>
                </a:cubicBezTo>
                <a:cubicBezTo>
                  <a:pt x="2727457" y="4548751"/>
                  <a:pt x="2503076" y="4293285"/>
                  <a:pt x="2503076" y="3973266"/>
                </a:cubicBezTo>
                <a:cubicBezTo>
                  <a:pt x="2503076" y="3691705"/>
                  <a:pt x="2779022" y="3517274"/>
                  <a:pt x="3077268" y="3517274"/>
                </a:cubicBezTo>
                <a:close/>
                <a:moveTo>
                  <a:pt x="3834030" y="1925421"/>
                </a:moveTo>
                <a:cubicBezTo>
                  <a:pt x="2503076" y="1967999"/>
                  <a:pt x="1945608" y="2776973"/>
                  <a:pt x="1945608" y="3731535"/>
                </a:cubicBezTo>
                <a:cubicBezTo>
                  <a:pt x="1945608" y="4574847"/>
                  <a:pt x="2416668" y="5025345"/>
                  <a:pt x="3085630" y="5025345"/>
                </a:cubicBezTo>
                <a:cubicBezTo>
                  <a:pt x="3700238" y="5025345"/>
                  <a:pt x="4148999" y="4616051"/>
                  <a:pt x="4148999" y="4015844"/>
                </a:cubicBezTo>
                <a:lnTo>
                  <a:pt x="4150393" y="4015844"/>
                </a:lnTo>
                <a:cubicBezTo>
                  <a:pt x="4150393" y="3432119"/>
                  <a:pt x="3730899" y="3083257"/>
                  <a:pt x="3195730" y="3083257"/>
                </a:cubicBezTo>
                <a:cubicBezTo>
                  <a:pt x="2897484" y="3083257"/>
                  <a:pt x="2654986" y="3210990"/>
                  <a:pt x="2525374" y="3338723"/>
                </a:cubicBezTo>
                <a:cubicBezTo>
                  <a:pt x="2710732" y="2700059"/>
                  <a:pt x="3160888" y="2436352"/>
                  <a:pt x="3946917" y="2402015"/>
                </a:cubicBezTo>
                <a:close/>
                <a:moveTo>
                  <a:pt x="0" y="0"/>
                </a:moveTo>
                <a:lnTo>
                  <a:pt x="5214397" y="0"/>
                </a:lnTo>
                <a:cubicBezTo>
                  <a:pt x="5701293" y="0"/>
                  <a:pt x="6096001" y="394708"/>
                  <a:pt x="6096001" y="881604"/>
                </a:cubicBezTo>
                <a:lnTo>
                  <a:pt x="60960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85DA45A5-9E96-A540-A7CB-C6C50E73A7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5558"/>
            <a:ext cx="1304260" cy="480118"/>
          </a:xfrm>
          <a:prstGeom prst="rect">
            <a:avLst/>
          </a:prstGeom>
        </p:spPr>
      </p:pic>
      <p:sp>
        <p:nvSpPr>
          <p:cNvPr id="8" name="Text Placeholder 29">
            <a:extLst>
              <a:ext uri="{FF2B5EF4-FFF2-40B4-BE49-F238E27FC236}">
                <a16:creationId xmlns:a16="http://schemas.microsoft.com/office/drawing/2014/main" id="{7BB44742-AE3F-8E84-7834-7B05B9090F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9" name="Text Placeholder 31">
            <a:extLst>
              <a:ext uri="{FF2B5EF4-FFF2-40B4-BE49-F238E27FC236}">
                <a16:creationId xmlns:a16="http://schemas.microsoft.com/office/drawing/2014/main" id="{7B5AA4FE-F153-D70D-DFCB-AA26BFD8A1F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253400346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554736" y="1785600"/>
            <a:ext cx="4137499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7" y="41597"/>
            <a:ext cx="287574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07795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082F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554736" y="1785600"/>
            <a:ext cx="4137499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2" name="TextBox 11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6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7" y="41597"/>
            <a:ext cx="287574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8522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197613"/>
            <a:ext cx="482308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40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6" y="41597"/>
            <a:ext cx="3561336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20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18535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082F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54736" y="197613"/>
            <a:ext cx="482308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4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561336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0421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197613"/>
            <a:ext cx="6329760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40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22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03397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082F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54736" y="197613"/>
            <a:ext cx="6329760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4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048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2497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554736" y="3826333"/>
            <a:ext cx="11082528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199390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554736" y="625475"/>
            <a:ext cx="932688" cy="932688"/>
          </a:xfrm>
          <a:prstGeom prst="rect">
            <a:avLst/>
          </a:prstGeom>
          <a:noFill/>
          <a:ln>
            <a:solidFill>
              <a:srgbClr val="082F3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54736" y="3826333"/>
            <a:ext cx="11082528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726080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1B9EC7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58640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97613"/>
            <a:ext cx="11082528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4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17561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Image B1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D21E2CB-391E-E74E-90AE-4B5A47140739}"/>
              </a:ext>
            </a:extLst>
          </p:cNvPr>
          <p:cNvSpPr/>
          <p:nvPr userDrawn="1"/>
        </p:nvSpPr>
        <p:spPr>
          <a:xfrm>
            <a:off x="83127" y="105798"/>
            <a:ext cx="4898251" cy="6635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2F82B885-0103-7D42-AE00-61FB2FE0C2F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" y="0"/>
            <a:ext cx="6096001" cy="6858000"/>
          </a:xfrm>
          <a:custGeom>
            <a:avLst/>
            <a:gdLst>
              <a:gd name="connsiteX0" fmla="*/ 3022951 w 6096001"/>
              <a:gd name="connsiteY0" fmla="*/ 1876235 h 6858000"/>
              <a:gd name="connsiteX1" fmla="*/ 2208500 w 6096001"/>
              <a:gd name="connsiteY1" fmla="*/ 2461578 h 6858000"/>
              <a:gd name="connsiteX2" fmla="*/ 2208500 w 6096001"/>
              <a:gd name="connsiteY2" fmla="*/ 2993835 h 6858000"/>
              <a:gd name="connsiteX3" fmla="*/ 2859036 w 6096001"/>
              <a:gd name="connsiteY3" fmla="*/ 2643188 h 6858000"/>
              <a:gd name="connsiteX4" fmla="*/ 2859036 w 6096001"/>
              <a:gd name="connsiteY4" fmla="*/ 4981766 h 6858000"/>
              <a:gd name="connsiteX5" fmla="*/ 3371270 w 6096001"/>
              <a:gd name="connsiteY5" fmla="*/ 4981766 h 6858000"/>
              <a:gd name="connsiteX6" fmla="*/ 3371270 w 6096001"/>
              <a:gd name="connsiteY6" fmla="*/ 1876235 h 6858000"/>
              <a:gd name="connsiteX7" fmla="*/ 0 w 6096001"/>
              <a:gd name="connsiteY7" fmla="*/ 0 h 6858000"/>
              <a:gd name="connsiteX8" fmla="*/ 5214397 w 6096001"/>
              <a:gd name="connsiteY8" fmla="*/ 0 h 6858000"/>
              <a:gd name="connsiteX9" fmla="*/ 6096001 w 6096001"/>
              <a:gd name="connsiteY9" fmla="*/ 881604 h 6858000"/>
              <a:gd name="connsiteX10" fmla="*/ 6096001 w 6096001"/>
              <a:gd name="connsiteY10" fmla="*/ 6858000 h 6858000"/>
              <a:gd name="connsiteX11" fmla="*/ 0 w 6096001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096001" h="6858000">
                <a:moveTo>
                  <a:pt x="3022951" y="1876235"/>
                </a:moveTo>
                <a:cubicBezTo>
                  <a:pt x="2752748" y="2187766"/>
                  <a:pt x="2482545" y="2379155"/>
                  <a:pt x="2208500" y="2461578"/>
                </a:cubicBezTo>
                <a:lnTo>
                  <a:pt x="2208500" y="2993835"/>
                </a:lnTo>
                <a:cubicBezTo>
                  <a:pt x="2426199" y="2942146"/>
                  <a:pt x="2640057" y="2824798"/>
                  <a:pt x="2859036" y="2643188"/>
                </a:cubicBezTo>
                <a:lnTo>
                  <a:pt x="2859036" y="4981766"/>
                </a:lnTo>
                <a:lnTo>
                  <a:pt x="3371270" y="4981766"/>
                </a:lnTo>
                <a:lnTo>
                  <a:pt x="3371270" y="1876235"/>
                </a:lnTo>
                <a:close/>
                <a:moveTo>
                  <a:pt x="0" y="0"/>
                </a:moveTo>
                <a:lnTo>
                  <a:pt x="5214397" y="0"/>
                </a:lnTo>
                <a:cubicBezTo>
                  <a:pt x="5701293" y="0"/>
                  <a:pt x="6096001" y="394708"/>
                  <a:pt x="6096001" y="881604"/>
                </a:cubicBezTo>
                <a:lnTo>
                  <a:pt x="60960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72000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EC50268-B292-A44F-BED3-2C5DBBD260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1777"/>
            <a:ext cx="1304260" cy="487680"/>
          </a:xfrm>
          <a:prstGeom prst="rect">
            <a:avLst/>
          </a:prstGeom>
        </p:spPr>
      </p:pic>
      <p:sp>
        <p:nvSpPr>
          <p:cNvPr id="7" name="Text Placeholder 29">
            <a:extLst>
              <a:ext uri="{FF2B5EF4-FFF2-40B4-BE49-F238E27FC236}">
                <a16:creationId xmlns:a16="http://schemas.microsoft.com/office/drawing/2014/main" id="{F9D1ECA4-2E76-AFCB-1752-45EC49E126B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9" name="Text Placeholder 31">
            <a:extLst>
              <a:ext uri="{FF2B5EF4-FFF2-40B4-BE49-F238E27FC236}">
                <a16:creationId xmlns:a16="http://schemas.microsoft.com/office/drawing/2014/main" id="{210A6CFC-9DAE-801C-CBAB-81E6DC1F915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379274384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675845"/>
            <a:ext cx="2819400" cy="156594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4800" b="1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14684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lank green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5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090129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748976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4268128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2E320337-4448-4A41-97CD-D612E7679AE8}"/>
              </a:ext>
            </a:extLst>
          </p:cNvPr>
          <p:cNvSpPr/>
          <p:nvPr userDrawn="1"/>
        </p:nvSpPr>
        <p:spPr bwMode="ltGray">
          <a:xfrm>
            <a:off x="-1" y="0"/>
            <a:ext cx="12192001" cy="68584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6495E0D-5D59-4033-8845-01A4DC888ABB}"/>
              </a:ext>
            </a:extLst>
          </p:cNvPr>
          <p:cNvSpPr txBox="1"/>
          <p:nvPr userDrawn="1"/>
        </p:nvSpPr>
        <p:spPr bwMode="ltGray">
          <a:xfrm>
            <a:off x="4063999" y="3152001"/>
            <a:ext cx="4064000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3600" b="1">
                <a:solidFill>
                  <a:srgbClr val="E6D2C8"/>
                </a:solidFill>
                <a:latin typeface="+mn-lt"/>
                <a:ea typeface="+mn-ea"/>
                <a:cs typeface="+mn-cs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471485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7881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11829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8"/>
            <a:ext cx="3448800" cy="344728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992129" y="1115416"/>
            <a:ext cx="2723823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b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69938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99455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15828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19471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b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899834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83074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b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58568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Image B2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D8B3FAE-10BA-7845-921A-76D948055D40}"/>
              </a:ext>
            </a:extLst>
          </p:cNvPr>
          <p:cNvSpPr/>
          <p:nvPr userDrawn="1"/>
        </p:nvSpPr>
        <p:spPr>
          <a:xfrm>
            <a:off x="83127" y="105798"/>
            <a:ext cx="4898251" cy="6635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71AEB3A9-DC85-414C-A1EF-308330C0697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1777"/>
            <a:ext cx="1304260" cy="487680"/>
          </a:xfrm>
          <a:prstGeom prst="rect">
            <a:avLst/>
          </a:prstGeom>
        </p:spPr>
      </p:pic>
      <p:sp>
        <p:nvSpPr>
          <p:cNvPr id="39" name="Picture Placeholder 38">
            <a:extLst>
              <a:ext uri="{FF2B5EF4-FFF2-40B4-BE49-F238E27FC236}">
                <a16:creationId xmlns:a16="http://schemas.microsoft.com/office/drawing/2014/main" id="{785EFCE5-1951-3242-A232-F252911C4EA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" y="0"/>
            <a:ext cx="6096001" cy="6858000"/>
          </a:xfrm>
          <a:custGeom>
            <a:avLst/>
            <a:gdLst>
              <a:gd name="connsiteX0" fmla="*/ 3078800 w 6096001"/>
              <a:gd name="connsiteY0" fmla="*/ 1892300 h 6858000"/>
              <a:gd name="connsiteX1" fmla="*/ 2003079 w 6096001"/>
              <a:gd name="connsiteY1" fmla="*/ 2443193 h 6858000"/>
              <a:gd name="connsiteX2" fmla="*/ 2435905 w 6096001"/>
              <a:gd name="connsiteY2" fmla="*/ 2746603 h 6858000"/>
              <a:gd name="connsiteX3" fmla="*/ 3026635 w 6096001"/>
              <a:gd name="connsiteY3" fmla="*/ 2408238 h 6858000"/>
              <a:gd name="connsiteX4" fmla="*/ 3472150 w 6096001"/>
              <a:gd name="connsiteY4" fmla="*/ 2777364 h 6858000"/>
              <a:gd name="connsiteX5" fmla="*/ 2825026 w 6096001"/>
              <a:gd name="connsiteY5" fmla="*/ 3514218 h 6858000"/>
              <a:gd name="connsiteX6" fmla="*/ 1986161 w 6096001"/>
              <a:gd name="connsiteY6" fmla="*/ 4857893 h 6858000"/>
              <a:gd name="connsiteX7" fmla="*/ 1986161 w 6096001"/>
              <a:gd name="connsiteY7" fmla="*/ 5014492 h 6858000"/>
              <a:gd name="connsiteX8" fmla="*/ 4102356 w 6096001"/>
              <a:gd name="connsiteY8" fmla="*/ 5014492 h 6858000"/>
              <a:gd name="connsiteX9" fmla="*/ 4102356 w 6096001"/>
              <a:gd name="connsiteY9" fmla="*/ 4515333 h 6858000"/>
              <a:gd name="connsiteX10" fmla="*/ 2614957 w 6096001"/>
              <a:gd name="connsiteY10" fmla="*/ 4515333 h 6858000"/>
              <a:gd name="connsiteX11" fmla="*/ 3301557 w 6096001"/>
              <a:gd name="connsiteY11" fmla="*/ 3809239 h 6858000"/>
              <a:gd name="connsiteX12" fmla="*/ 4053011 w 6096001"/>
              <a:gd name="connsiteY12" fmla="*/ 2750798 h 6858000"/>
              <a:gd name="connsiteX13" fmla="*/ 3078800 w 6096001"/>
              <a:gd name="connsiteY13" fmla="*/ 1892300 h 6858000"/>
              <a:gd name="connsiteX14" fmla="*/ 0 w 6096001"/>
              <a:gd name="connsiteY14" fmla="*/ 0 h 6858000"/>
              <a:gd name="connsiteX15" fmla="*/ 5214397 w 6096001"/>
              <a:gd name="connsiteY15" fmla="*/ 0 h 6858000"/>
              <a:gd name="connsiteX16" fmla="*/ 6096001 w 6096001"/>
              <a:gd name="connsiteY16" fmla="*/ 881604 h 6858000"/>
              <a:gd name="connsiteX17" fmla="*/ 6096001 w 6096001"/>
              <a:gd name="connsiteY17" fmla="*/ 6858000 h 6858000"/>
              <a:gd name="connsiteX18" fmla="*/ 0 w 6096001"/>
              <a:gd name="connsiteY1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6096001" h="6858000">
                <a:moveTo>
                  <a:pt x="3078800" y="1892300"/>
                </a:moveTo>
                <a:cubicBezTo>
                  <a:pt x="2571252" y="1892300"/>
                  <a:pt x="2235706" y="2082456"/>
                  <a:pt x="2003079" y="2443193"/>
                </a:cubicBezTo>
                <a:lnTo>
                  <a:pt x="2435905" y="2746603"/>
                </a:lnTo>
                <a:cubicBezTo>
                  <a:pt x="2576891" y="2529882"/>
                  <a:pt x="2768632" y="2408238"/>
                  <a:pt x="3026635" y="2408238"/>
                </a:cubicBezTo>
                <a:cubicBezTo>
                  <a:pt x="3318476" y="2408238"/>
                  <a:pt x="3472150" y="2556447"/>
                  <a:pt x="3472150" y="2777364"/>
                </a:cubicBezTo>
                <a:cubicBezTo>
                  <a:pt x="3472150" y="3020651"/>
                  <a:pt x="3301557" y="3198224"/>
                  <a:pt x="2825026" y="3514218"/>
                </a:cubicBezTo>
                <a:cubicBezTo>
                  <a:pt x="2231476" y="3916901"/>
                  <a:pt x="1986161" y="4315389"/>
                  <a:pt x="1986161" y="4857893"/>
                </a:cubicBezTo>
                <a:lnTo>
                  <a:pt x="1986161" y="5014492"/>
                </a:lnTo>
                <a:lnTo>
                  <a:pt x="4102356" y="5014492"/>
                </a:lnTo>
                <a:lnTo>
                  <a:pt x="4102356" y="4515333"/>
                </a:lnTo>
                <a:lnTo>
                  <a:pt x="2614957" y="4515333"/>
                </a:lnTo>
                <a:cubicBezTo>
                  <a:pt x="2645974" y="4346150"/>
                  <a:pt x="2891289" y="4081889"/>
                  <a:pt x="3301557" y="3809239"/>
                </a:cubicBezTo>
                <a:cubicBezTo>
                  <a:pt x="3834483" y="3456891"/>
                  <a:pt x="4053011" y="3175852"/>
                  <a:pt x="4053011" y="2750798"/>
                </a:cubicBezTo>
                <a:cubicBezTo>
                  <a:pt x="4053011" y="2255833"/>
                  <a:pt x="3646972" y="1892300"/>
                  <a:pt x="3078800" y="1892300"/>
                </a:cubicBezTo>
                <a:close/>
                <a:moveTo>
                  <a:pt x="0" y="0"/>
                </a:moveTo>
                <a:lnTo>
                  <a:pt x="5214397" y="0"/>
                </a:lnTo>
                <a:cubicBezTo>
                  <a:pt x="5701293" y="0"/>
                  <a:pt x="6096001" y="394708"/>
                  <a:pt x="6096001" y="881604"/>
                </a:cubicBezTo>
                <a:lnTo>
                  <a:pt x="60960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720000">
            <a:no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Text Placeholder 29">
            <a:extLst>
              <a:ext uri="{FF2B5EF4-FFF2-40B4-BE49-F238E27FC236}">
                <a16:creationId xmlns:a16="http://schemas.microsoft.com/office/drawing/2014/main" id="{06A0666E-A97D-1003-AAE7-6FAEBACEBC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11" name="Text Placeholder 31">
            <a:extLst>
              <a:ext uri="{FF2B5EF4-FFF2-40B4-BE49-F238E27FC236}">
                <a16:creationId xmlns:a16="http://schemas.microsoft.com/office/drawing/2014/main" id="{098A54B8-9E40-BE44-A31D-00E6FC191F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2714491147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68954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rgbClr val="082F3B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082F3B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7"/>
            <a:ext cx="3448800" cy="3447288"/>
          </a:xfrm>
          <a:prstGeom prst="rect">
            <a:avLst/>
          </a:prstGeom>
          <a:noFill/>
          <a:ln>
            <a:solidFill>
              <a:srgbClr val="082F3B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992129" y="1115416"/>
            <a:ext cx="2723823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b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283912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8340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rgbClr val="082F3B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rgbClr val="082F3B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1961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14021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b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rgbClr val="082F3B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6162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67703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b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36222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20739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675845"/>
            <a:ext cx="2819400" cy="156594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4800" b="1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45453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ox Beige">
    <p:bg bwMode="grayWhite"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54735" y="2668041"/>
            <a:ext cx="11082528" cy="3201026"/>
          </a:xfrm>
          <a:prstGeom prst="rect">
            <a:avLst/>
          </a:prstGeom>
          <a:ln w="9525" cap="flat" cmpd="sng" algn="ctr">
            <a:solidFill>
              <a:srgbClr val="082F3B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554736" y="1428131"/>
            <a:ext cx="947672" cy="947672"/>
          </a:xfrm>
          <a:prstGeom prst="rect">
            <a:avLst/>
          </a:prstGeom>
          <a:noFill/>
          <a:ln w="10795" cap="flat" cmpd="sng" algn="ctr">
            <a:solidFill>
              <a:srgbClr val="082F3B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3457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 Beige">
    <p:bg bwMode="blackWhite"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54736" y="3826800"/>
            <a:ext cx="11082528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554736" y="3680016"/>
            <a:ext cx="11640466" cy="0"/>
          </a:xfrm>
          <a:prstGeom prst="line">
            <a:avLst/>
          </a:prstGeom>
          <a:ln w="19050" cap="flat" cmpd="sng" algn="ctr">
            <a:solidFill>
              <a:srgbClr val="082F3B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02978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554736" y="2681103"/>
            <a:ext cx="3203145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871954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ige highlight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197613"/>
            <a:ext cx="6332064" cy="52322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40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71662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ige one third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554736" y="2681103"/>
            <a:ext cx="3203145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7" y="41597"/>
            <a:ext cx="1941395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24659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Image B3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CB27288C-7259-9C4C-AE4F-E7A2FDA0B2B2}"/>
              </a:ext>
            </a:extLst>
          </p:cNvPr>
          <p:cNvSpPr/>
          <p:nvPr userDrawn="1"/>
        </p:nvSpPr>
        <p:spPr>
          <a:xfrm>
            <a:off x="83127" y="105798"/>
            <a:ext cx="4898251" cy="6635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B864648D-453B-ED4C-8BB1-586D325E3F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1777"/>
            <a:ext cx="1304260" cy="487680"/>
          </a:xfrm>
          <a:prstGeom prst="rect">
            <a:avLst/>
          </a:prstGeom>
        </p:spPr>
      </p:pic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36D7151-EE44-6D41-A861-17BC5B8F000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" y="0"/>
            <a:ext cx="6096001" cy="6858000"/>
          </a:xfrm>
          <a:custGeom>
            <a:avLst/>
            <a:gdLst>
              <a:gd name="connsiteX0" fmla="*/ 3115819 w 6096001"/>
              <a:gd name="connsiteY0" fmla="*/ 1901215 h 6858000"/>
              <a:gd name="connsiteX1" fmla="*/ 2096475 w 6096001"/>
              <a:gd name="connsiteY1" fmla="*/ 2469051 h 6858000"/>
              <a:gd name="connsiteX2" fmla="*/ 2517092 w 6096001"/>
              <a:gd name="connsiteY2" fmla="*/ 2737003 h 6858000"/>
              <a:gd name="connsiteX3" fmla="*/ 3061016 w 6096001"/>
              <a:gd name="connsiteY3" fmla="*/ 2401022 h 6858000"/>
              <a:gd name="connsiteX4" fmla="*/ 3455600 w 6096001"/>
              <a:gd name="connsiteY4" fmla="*/ 2732838 h 6858000"/>
              <a:gd name="connsiteX5" fmla="*/ 2725345 w 6096001"/>
              <a:gd name="connsiteY5" fmla="*/ 3202101 h 6858000"/>
              <a:gd name="connsiteX6" fmla="*/ 2725345 w 6096001"/>
              <a:gd name="connsiteY6" fmla="*/ 3663034 h 6858000"/>
              <a:gd name="connsiteX7" fmla="*/ 3570688 w 6096001"/>
              <a:gd name="connsiteY7" fmla="*/ 4110083 h 6858000"/>
              <a:gd name="connsiteX8" fmla="*/ 3044575 w 6096001"/>
              <a:gd name="connsiteY8" fmla="*/ 4544637 h 6858000"/>
              <a:gd name="connsiteX9" fmla="*/ 2300618 w 6096001"/>
              <a:gd name="connsiteY9" fmla="*/ 4273909 h 6858000"/>
              <a:gd name="connsiteX10" fmla="*/ 1977278 w 6096001"/>
              <a:gd name="connsiteY10" fmla="*/ 4712628 h 6858000"/>
              <a:gd name="connsiteX11" fmla="*/ 1978648 w 6096001"/>
              <a:gd name="connsiteY11" fmla="*/ 4711240 h 6858000"/>
              <a:gd name="connsiteX12" fmla="*/ 3048685 w 6096001"/>
              <a:gd name="connsiteY12" fmla="*/ 5043056 h 6858000"/>
              <a:gd name="connsiteX13" fmla="*/ 4118722 w 6096001"/>
              <a:gd name="connsiteY13" fmla="*/ 4126744 h 6858000"/>
              <a:gd name="connsiteX14" fmla="*/ 3455600 w 6096001"/>
              <a:gd name="connsiteY14" fmla="*/ 3360373 h 6858000"/>
              <a:gd name="connsiteX15" fmla="*/ 3999524 w 6096001"/>
              <a:gd name="connsiteY15" fmla="*/ 2628712 h 6858000"/>
              <a:gd name="connsiteX16" fmla="*/ 3115819 w 6096001"/>
              <a:gd name="connsiteY16" fmla="*/ 1901215 h 6858000"/>
              <a:gd name="connsiteX17" fmla="*/ 0 w 6096001"/>
              <a:gd name="connsiteY17" fmla="*/ 0 h 6858000"/>
              <a:gd name="connsiteX18" fmla="*/ 5214397 w 6096001"/>
              <a:gd name="connsiteY18" fmla="*/ 0 h 6858000"/>
              <a:gd name="connsiteX19" fmla="*/ 6096001 w 6096001"/>
              <a:gd name="connsiteY19" fmla="*/ 881604 h 6858000"/>
              <a:gd name="connsiteX20" fmla="*/ 6096001 w 6096001"/>
              <a:gd name="connsiteY20" fmla="*/ 6858000 h 6858000"/>
              <a:gd name="connsiteX21" fmla="*/ 0 w 6096001"/>
              <a:gd name="connsiteY2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6096001" h="6858000">
                <a:moveTo>
                  <a:pt x="3115819" y="1901215"/>
                </a:moveTo>
                <a:cubicBezTo>
                  <a:pt x="2614368" y="1901215"/>
                  <a:pt x="2278697" y="2128905"/>
                  <a:pt x="2096475" y="2469051"/>
                </a:cubicBezTo>
                <a:lnTo>
                  <a:pt x="2517092" y="2737003"/>
                </a:lnTo>
                <a:cubicBezTo>
                  <a:pt x="2602037" y="2581508"/>
                  <a:pt x="2780148" y="2401022"/>
                  <a:pt x="3061016" y="2401022"/>
                </a:cubicBezTo>
                <a:cubicBezTo>
                  <a:pt x="3302151" y="2401022"/>
                  <a:pt x="3455600" y="2534304"/>
                  <a:pt x="3455600" y="2732838"/>
                </a:cubicBezTo>
                <a:cubicBezTo>
                  <a:pt x="3455600" y="2964693"/>
                  <a:pt x="3285710" y="3197936"/>
                  <a:pt x="2725345" y="3202101"/>
                </a:cubicBezTo>
                <a:lnTo>
                  <a:pt x="2725345" y="3663034"/>
                </a:lnTo>
                <a:cubicBezTo>
                  <a:pt x="3303521" y="3663034"/>
                  <a:pt x="3570688" y="3825471"/>
                  <a:pt x="3570688" y="4110083"/>
                </a:cubicBezTo>
                <a:cubicBezTo>
                  <a:pt x="3570688" y="4372481"/>
                  <a:pt x="3384356" y="4544637"/>
                  <a:pt x="3044575" y="4544637"/>
                </a:cubicBezTo>
                <a:cubicBezTo>
                  <a:pt x="2737676" y="4544637"/>
                  <a:pt x="2504761" y="4433570"/>
                  <a:pt x="2300618" y="4273909"/>
                </a:cubicBezTo>
                <a:lnTo>
                  <a:pt x="1977278" y="4712628"/>
                </a:lnTo>
                <a:lnTo>
                  <a:pt x="1978648" y="4711240"/>
                </a:lnTo>
                <a:cubicBezTo>
                  <a:pt x="2271846" y="4926434"/>
                  <a:pt x="2581486" y="5043056"/>
                  <a:pt x="3048685" y="5043056"/>
                </a:cubicBezTo>
                <a:cubicBezTo>
                  <a:pt x="3698106" y="5043056"/>
                  <a:pt x="4118722" y="4659870"/>
                  <a:pt x="4118722" y="4126744"/>
                </a:cubicBezTo>
                <a:cubicBezTo>
                  <a:pt x="4118722" y="3708850"/>
                  <a:pt x="3863886" y="3468665"/>
                  <a:pt x="3455600" y="3360373"/>
                </a:cubicBezTo>
                <a:cubicBezTo>
                  <a:pt x="3791271" y="3239587"/>
                  <a:pt x="3999524" y="2999402"/>
                  <a:pt x="3999524" y="2628712"/>
                </a:cubicBezTo>
                <a:cubicBezTo>
                  <a:pt x="3999524" y="2206653"/>
                  <a:pt x="3617271" y="1901215"/>
                  <a:pt x="3115819" y="1901215"/>
                </a:cubicBezTo>
                <a:close/>
                <a:moveTo>
                  <a:pt x="0" y="0"/>
                </a:moveTo>
                <a:lnTo>
                  <a:pt x="5214397" y="0"/>
                </a:lnTo>
                <a:cubicBezTo>
                  <a:pt x="5701293" y="0"/>
                  <a:pt x="6096001" y="394708"/>
                  <a:pt x="6096001" y="881604"/>
                </a:cubicBezTo>
                <a:lnTo>
                  <a:pt x="60960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720000">
            <a:no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ext Placeholder 29">
            <a:extLst>
              <a:ext uri="{FF2B5EF4-FFF2-40B4-BE49-F238E27FC236}">
                <a16:creationId xmlns:a16="http://schemas.microsoft.com/office/drawing/2014/main" id="{25C2FE18-7101-835D-ADE0-E6D02E757D2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12" name="Text Placeholder 31">
            <a:extLst>
              <a:ext uri="{FF2B5EF4-FFF2-40B4-BE49-F238E27FC236}">
                <a16:creationId xmlns:a16="http://schemas.microsoft.com/office/drawing/2014/main" id="{E4418E5A-E58F-0B96-77BA-27495CF8E9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3581319084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ige half">
    <p:bg bwMode="grayWhite"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>
            <a:noAutofit/>
          </a:bodyPr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54736" y="1785600"/>
            <a:ext cx="4463664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6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20191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28105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ige two third">
    <p:bg bwMode="grayWhite"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19783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54736" y="1804650"/>
            <a:ext cx="6322816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882750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2"/>
          <p:cNvSpPr>
            <a:spLocks noGrp="1"/>
          </p:cNvSpPr>
          <p:nvPr>
            <p:ph type="title" hasCustomPrompt="1"/>
          </p:nvPr>
        </p:nvSpPr>
        <p:spPr>
          <a:xfrm>
            <a:off x="554736" y="2764203"/>
            <a:ext cx="2553902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1292152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96886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ige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E7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54736" y="2764203"/>
            <a:ext cx="2553902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0" name="TextBox 9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1292152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8234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24" imgH="324" progId="TCLayout.ActiveDocument.1">
                  <p:embed/>
                </p:oleObj>
              </mc:Choice>
              <mc:Fallback>
                <p:oleObj name="think-cell Slide" r:id="rId6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b="1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54736" y="1785600"/>
            <a:ext cx="4137499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7" y="41597"/>
            <a:ext cx="287574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43152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ige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E7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54736" y="1785600"/>
            <a:ext cx="4137499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TextBox 9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7" y="41597"/>
            <a:ext cx="287574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2976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197613"/>
            <a:ext cx="4748910" cy="52322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40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1816486" y="41597"/>
            <a:ext cx="348716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53959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ige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E7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54736" y="197613"/>
            <a:ext cx="4748910" cy="52322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4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1816486" y="41597"/>
            <a:ext cx="348716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16007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197613"/>
            <a:ext cx="6332064" cy="52322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6" y="41597"/>
            <a:ext cx="348716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50715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ige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E7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54736" y="197613"/>
            <a:ext cx="6332064" cy="52322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4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48716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>
                <a:solidFill>
                  <a:srgbClr val="000000"/>
                </a:solidFill>
              </a:rPr>
              <a:t>Classified as Internal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3319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Image B4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CB27288C-7259-9C4C-AE4F-E7A2FDA0B2B2}"/>
              </a:ext>
            </a:extLst>
          </p:cNvPr>
          <p:cNvSpPr/>
          <p:nvPr userDrawn="1"/>
        </p:nvSpPr>
        <p:spPr>
          <a:xfrm>
            <a:off x="83127" y="105798"/>
            <a:ext cx="4898251" cy="6635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B864648D-453B-ED4C-8BB1-586D325E3F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1777"/>
            <a:ext cx="1304260" cy="487680"/>
          </a:xfrm>
          <a:prstGeom prst="rect">
            <a:avLst/>
          </a:prstGeom>
        </p:spPr>
      </p:pic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66FEC1B-CB13-FBEB-0D56-B30A0523DF3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1" cy="6858000"/>
          </a:xfrm>
          <a:custGeom>
            <a:avLst/>
            <a:gdLst>
              <a:gd name="connsiteX0" fmla="*/ 3218999 w 6096001"/>
              <a:gd name="connsiteY0" fmla="*/ 2668987 h 6858000"/>
              <a:gd name="connsiteX1" fmla="*/ 3218999 w 6096001"/>
              <a:gd name="connsiteY1" fmla="*/ 3752595 h 6858000"/>
              <a:gd name="connsiteX2" fmla="*/ 2442001 w 6096001"/>
              <a:gd name="connsiteY2" fmla="*/ 3752595 h 6858000"/>
              <a:gd name="connsiteX3" fmla="*/ 3218999 w 6096001"/>
              <a:gd name="connsiteY3" fmla="*/ 1883188 h 6858000"/>
              <a:gd name="connsiteX4" fmla="*/ 1820976 w 6096001"/>
              <a:gd name="connsiteY4" fmla="*/ 3839578 h 6858000"/>
              <a:gd name="connsiteX5" fmla="*/ 1820976 w 6096001"/>
              <a:gd name="connsiteY5" fmla="*/ 4242061 h 6858000"/>
              <a:gd name="connsiteX6" fmla="*/ 3218999 w 6096001"/>
              <a:gd name="connsiteY6" fmla="*/ 4242061 h 6858000"/>
              <a:gd name="connsiteX7" fmla="*/ 3218999 w 6096001"/>
              <a:gd name="connsiteY7" fmla="*/ 5164970 h 6858000"/>
              <a:gd name="connsiteX8" fmla="*/ 3791372 w 6096001"/>
              <a:gd name="connsiteY8" fmla="*/ 5164970 h 6858000"/>
              <a:gd name="connsiteX9" fmla="*/ 3791372 w 6096001"/>
              <a:gd name="connsiteY9" fmla="*/ 4242061 h 6858000"/>
              <a:gd name="connsiteX10" fmla="*/ 4275028 w 6096001"/>
              <a:gd name="connsiteY10" fmla="*/ 4242061 h 6858000"/>
              <a:gd name="connsiteX11" fmla="*/ 4275028 w 6096001"/>
              <a:gd name="connsiteY11" fmla="*/ 3752595 h 6858000"/>
              <a:gd name="connsiteX12" fmla="*/ 3791372 w 6096001"/>
              <a:gd name="connsiteY12" fmla="*/ 3752595 h 6858000"/>
              <a:gd name="connsiteX13" fmla="*/ 3791372 w 6096001"/>
              <a:gd name="connsiteY13" fmla="*/ 1883188 h 6858000"/>
              <a:gd name="connsiteX14" fmla="*/ 0 w 6096001"/>
              <a:gd name="connsiteY14" fmla="*/ 0 h 6858000"/>
              <a:gd name="connsiteX15" fmla="*/ 5214397 w 6096001"/>
              <a:gd name="connsiteY15" fmla="*/ 0 h 6858000"/>
              <a:gd name="connsiteX16" fmla="*/ 6096001 w 6096001"/>
              <a:gd name="connsiteY16" fmla="*/ 881604 h 6858000"/>
              <a:gd name="connsiteX17" fmla="*/ 6096001 w 6096001"/>
              <a:gd name="connsiteY17" fmla="*/ 6858000 h 6858000"/>
              <a:gd name="connsiteX18" fmla="*/ 0 w 6096001"/>
              <a:gd name="connsiteY1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6096001" h="6858000">
                <a:moveTo>
                  <a:pt x="3218999" y="2668987"/>
                </a:moveTo>
                <a:lnTo>
                  <a:pt x="3218999" y="3752595"/>
                </a:lnTo>
                <a:lnTo>
                  <a:pt x="2442001" y="3752595"/>
                </a:lnTo>
                <a:close/>
                <a:moveTo>
                  <a:pt x="3218999" y="1883188"/>
                </a:moveTo>
                <a:lnTo>
                  <a:pt x="1820976" y="3839578"/>
                </a:lnTo>
                <a:lnTo>
                  <a:pt x="1820976" y="4242061"/>
                </a:lnTo>
                <a:lnTo>
                  <a:pt x="3218999" y="4242061"/>
                </a:lnTo>
                <a:lnTo>
                  <a:pt x="3218999" y="5164970"/>
                </a:lnTo>
                <a:lnTo>
                  <a:pt x="3791372" y="5164970"/>
                </a:lnTo>
                <a:lnTo>
                  <a:pt x="3791372" y="4242061"/>
                </a:lnTo>
                <a:lnTo>
                  <a:pt x="4275028" y="4242061"/>
                </a:lnTo>
                <a:lnTo>
                  <a:pt x="4275028" y="3752595"/>
                </a:lnTo>
                <a:lnTo>
                  <a:pt x="3791372" y="3752595"/>
                </a:lnTo>
                <a:lnTo>
                  <a:pt x="3791372" y="1883188"/>
                </a:lnTo>
                <a:close/>
                <a:moveTo>
                  <a:pt x="0" y="0"/>
                </a:moveTo>
                <a:lnTo>
                  <a:pt x="5214397" y="0"/>
                </a:lnTo>
                <a:cubicBezTo>
                  <a:pt x="5701293" y="0"/>
                  <a:pt x="6096001" y="394708"/>
                  <a:pt x="6096001" y="881604"/>
                </a:cubicBezTo>
                <a:lnTo>
                  <a:pt x="60960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Text Placeholder 29">
            <a:extLst>
              <a:ext uri="{FF2B5EF4-FFF2-40B4-BE49-F238E27FC236}">
                <a16:creationId xmlns:a16="http://schemas.microsoft.com/office/drawing/2014/main" id="{685E723E-9B95-DE16-D2D8-EB21AE8AD08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13" name="Text Placeholder 31">
            <a:extLst>
              <a:ext uri="{FF2B5EF4-FFF2-40B4-BE49-F238E27FC236}">
                <a16:creationId xmlns:a16="http://schemas.microsoft.com/office/drawing/2014/main" id="{92B6EC2E-829A-8421-4DF9-E5CDC6DA540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397254640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54736" y="3826333"/>
            <a:ext cx="11082528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99534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Beige">
    <p:bg>
      <p:bgPr>
        <a:solidFill>
          <a:schemeClr val="accent4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F2E7E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3723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5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96538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554736" y="2681103"/>
            <a:ext cx="3203145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7" y="41597"/>
            <a:ext cx="1941395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69730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eige highlight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7" y="197613"/>
            <a:ext cx="635179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40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59249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197613"/>
            <a:ext cx="824330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40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79447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eige one third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554736" y="2681103"/>
            <a:ext cx="3203145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7" y="41597"/>
            <a:ext cx="1941395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93863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eige half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54736" y="1785600"/>
            <a:ext cx="4463664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240593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eige two third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-1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54736" y="1785600"/>
            <a:ext cx="63237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08462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24" imgH="324" progId="TCLayout.ActiveDocument.1">
                  <p:embed/>
                </p:oleObj>
              </mc:Choice>
              <mc:Fallback>
                <p:oleObj name="think-cell Slide" r:id="rId6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554736" y="2764203"/>
            <a:ext cx="2553902" cy="1314311"/>
          </a:xfrm>
        </p:spPr>
        <p:txBody>
          <a:bodyPr vert="horz" anchor="ctr" anchorCtr="0">
            <a:noAutofit/>
          </a:bodyPr>
          <a:lstStyle>
            <a:lvl1pPr>
              <a:defRPr sz="2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1292152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9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01670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Image B5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CB27288C-7259-9C4C-AE4F-E7A2FDA0B2B2}"/>
              </a:ext>
            </a:extLst>
          </p:cNvPr>
          <p:cNvSpPr/>
          <p:nvPr userDrawn="1"/>
        </p:nvSpPr>
        <p:spPr>
          <a:xfrm>
            <a:off x="83127" y="105798"/>
            <a:ext cx="4898251" cy="6635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B864648D-453B-ED4C-8BB1-586D325E3F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1777"/>
            <a:ext cx="1304260" cy="487680"/>
          </a:xfrm>
          <a:prstGeom prst="rect">
            <a:avLst/>
          </a:prstGeom>
        </p:spPr>
      </p:pic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965DBAFD-23F0-1A0E-5FDF-8321772FC36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" y="0"/>
            <a:ext cx="6096001" cy="6858000"/>
          </a:xfrm>
          <a:custGeom>
            <a:avLst/>
            <a:gdLst>
              <a:gd name="connsiteX0" fmla="*/ 2264571 w 6096001"/>
              <a:gd name="connsiteY0" fmla="*/ 1883188 h 6858000"/>
              <a:gd name="connsiteX1" fmla="*/ 2167943 w 6096001"/>
              <a:gd name="connsiteY1" fmla="*/ 3625805 h 6858000"/>
              <a:gd name="connsiteX2" fmla="*/ 2578239 w 6096001"/>
              <a:gd name="connsiteY2" fmla="*/ 3754069 h 6858000"/>
              <a:gd name="connsiteX3" fmla="*/ 3056918 w 6096001"/>
              <a:gd name="connsiteY3" fmla="*/ 3625805 h 6858000"/>
              <a:gd name="connsiteX4" fmla="*/ 3638171 w 6096001"/>
              <a:gd name="connsiteY4" fmla="*/ 4124117 h 6858000"/>
              <a:gd name="connsiteX5" fmla="*/ 3047999 w 6096001"/>
              <a:gd name="connsiteY5" fmla="*/ 4644543 h 6858000"/>
              <a:gd name="connsiteX6" fmla="*/ 2222946 w 6096001"/>
              <a:gd name="connsiteY6" fmla="*/ 4342313 h 6858000"/>
              <a:gd name="connsiteX7" fmla="*/ 1933063 w 6096001"/>
              <a:gd name="connsiteY7" fmla="*/ 4822933 h 6858000"/>
              <a:gd name="connsiteX8" fmla="*/ 3058405 w 6096001"/>
              <a:gd name="connsiteY8" fmla="*/ 5175290 h 6858000"/>
              <a:gd name="connsiteX9" fmla="*/ 4229830 w 6096001"/>
              <a:gd name="connsiteY9" fmla="*/ 4110849 h 6858000"/>
              <a:gd name="connsiteX10" fmla="*/ 3178818 w 6096001"/>
              <a:gd name="connsiteY10" fmla="*/ 3114225 h 6858000"/>
              <a:gd name="connsiteX11" fmla="*/ 2689733 w 6096001"/>
              <a:gd name="connsiteY11" fmla="*/ 3214477 h 6858000"/>
              <a:gd name="connsiteX12" fmla="*/ 2744736 w 6096001"/>
              <a:gd name="connsiteY12" fmla="*/ 2409511 h 6858000"/>
              <a:gd name="connsiteX13" fmla="*/ 4026169 w 6096001"/>
              <a:gd name="connsiteY13" fmla="*/ 2409511 h 6858000"/>
              <a:gd name="connsiteX14" fmla="*/ 4026169 w 6096001"/>
              <a:gd name="connsiteY14" fmla="*/ 1883188 h 6858000"/>
              <a:gd name="connsiteX15" fmla="*/ 0 w 6096001"/>
              <a:gd name="connsiteY15" fmla="*/ 0 h 6858000"/>
              <a:gd name="connsiteX16" fmla="*/ 5214397 w 6096001"/>
              <a:gd name="connsiteY16" fmla="*/ 0 h 6858000"/>
              <a:gd name="connsiteX17" fmla="*/ 6096001 w 6096001"/>
              <a:gd name="connsiteY17" fmla="*/ 881604 h 6858000"/>
              <a:gd name="connsiteX18" fmla="*/ 6096001 w 6096001"/>
              <a:gd name="connsiteY18" fmla="*/ 6858000 h 6858000"/>
              <a:gd name="connsiteX19" fmla="*/ 0 w 6096001"/>
              <a:gd name="connsiteY19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6096001" h="6858000">
                <a:moveTo>
                  <a:pt x="2264571" y="1883188"/>
                </a:moveTo>
                <a:lnTo>
                  <a:pt x="2167943" y="3625805"/>
                </a:lnTo>
                <a:lnTo>
                  <a:pt x="2578239" y="3754069"/>
                </a:lnTo>
                <a:cubicBezTo>
                  <a:pt x="2706085" y="3671508"/>
                  <a:pt x="2863663" y="3625805"/>
                  <a:pt x="3056918" y="3625805"/>
                </a:cubicBezTo>
                <a:cubicBezTo>
                  <a:pt x="3412211" y="3625805"/>
                  <a:pt x="3638171" y="3814515"/>
                  <a:pt x="3638171" y="4124117"/>
                </a:cubicBezTo>
                <a:cubicBezTo>
                  <a:pt x="3638171" y="4433719"/>
                  <a:pt x="3412211" y="4644543"/>
                  <a:pt x="3047999" y="4644543"/>
                </a:cubicBezTo>
                <a:cubicBezTo>
                  <a:pt x="2720951" y="4644543"/>
                  <a:pt x="2435527" y="4511857"/>
                  <a:pt x="2222946" y="4342313"/>
                </a:cubicBezTo>
                <a:lnTo>
                  <a:pt x="1933063" y="4822933"/>
                </a:lnTo>
                <a:cubicBezTo>
                  <a:pt x="2173889" y="5024912"/>
                  <a:pt x="2542561" y="5175290"/>
                  <a:pt x="3058405" y="5175290"/>
                </a:cubicBezTo>
                <a:cubicBezTo>
                  <a:pt x="3755611" y="5175290"/>
                  <a:pt x="4229830" y="4728578"/>
                  <a:pt x="4229830" y="4110849"/>
                </a:cubicBezTo>
                <a:cubicBezTo>
                  <a:pt x="4229830" y="3493119"/>
                  <a:pt x="3801695" y="3114225"/>
                  <a:pt x="3178818" y="3114225"/>
                </a:cubicBezTo>
                <a:cubicBezTo>
                  <a:pt x="3007861" y="3114225"/>
                  <a:pt x="2810146" y="3155505"/>
                  <a:pt x="2689733" y="3214477"/>
                </a:cubicBezTo>
                <a:lnTo>
                  <a:pt x="2744736" y="2409511"/>
                </a:lnTo>
                <a:lnTo>
                  <a:pt x="4026169" y="2409511"/>
                </a:lnTo>
                <a:lnTo>
                  <a:pt x="4026169" y="1883188"/>
                </a:lnTo>
                <a:close/>
                <a:moveTo>
                  <a:pt x="0" y="0"/>
                </a:moveTo>
                <a:lnTo>
                  <a:pt x="5214397" y="0"/>
                </a:lnTo>
                <a:cubicBezTo>
                  <a:pt x="5701293" y="0"/>
                  <a:pt x="6096001" y="394708"/>
                  <a:pt x="6096001" y="881604"/>
                </a:cubicBezTo>
                <a:lnTo>
                  <a:pt x="60960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ext Placeholder 29">
            <a:extLst>
              <a:ext uri="{FF2B5EF4-FFF2-40B4-BE49-F238E27FC236}">
                <a16:creationId xmlns:a16="http://schemas.microsoft.com/office/drawing/2014/main" id="{40CB19B9-B076-F72F-4871-28E77338605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13" name="Text Placeholder 31">
            <a:extLst>
              <a:ext uri="{FF2B5EF4-FFF2-40B4-BE49-F238E27FC236}">
                <a16:creationId xmlns:a16="http://schemas.microsoft.com/office/drawing/2014/main" id="{A7A9F534-6D07-AD6C-9EA8-9F5BCBDDD1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1304552958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eige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E7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000000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54736" y="2764203"/>
            <a:ext cx="2553902" cy="1314311"/>
          </a:xfrm>
        </p:spPr>
        <p:txBody>
          <a:bodyPr vert="horz" anchor="ctr" anchorCtr="0">
            <a:noAutofit/>
          </a:bodyPr>
          <a:lstStyle>
            <a:lvl1pPr>
              <a:defRPr sz="24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2" name="TextBox 11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1292152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4545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554736" y="1785600"/>
            <a:ext cx="4137499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7" y="41597"/>
            <a:ext cx="287574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79278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eige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E7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000000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554736" y="1785600"/>
            <a:ext cx="4137499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2" name="TextBox 11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6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7" y="41597"/>
            <a:ext cx="287574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9837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197613"/>
            <a:ext cx="482308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40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6" y="41597"/>
            <a:ext cx="3561336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13031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eige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E7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54736" y="197613"/>
            <a:ext cx="482308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4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561336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7948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197613"/>
            <a:ext cx="6329760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40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31645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eige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E7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54736" y="197613"/>
            <a:ext cx="6329760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4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048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2642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554736" y="3826333"/>
            <a:ext cx="11082528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78964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 Beige">
    <p:bg>
      <p:bgPr>
        <a:solidFill>
          <a:schemeClr val="accent4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F2E7E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srgbClr val="000000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6503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675845"/>
            <a:ext cx="2819400" cy="156594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4800" b="1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78031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Image B6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CB27288C-7259-9C4C-AE4F-E7A2FDA0B2B2}"/>
              </a:ext>
            </a:extLst>
          </p:cNvPr>
          <p:cNvSpPr/>
          <p:nvPr userDrawn="1"/>
        </p:nvSpPr>
        <p:spPr>
          <a:xfrm>
            <a:off x="83127" y="105798"/>
            <a:ext cx="4898251" cy="6635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B864648D-453B-ED4C-8BB1-586D325E3F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1777"/>
            <a:ext cx="1304260" cy="487680"/>
          </a:xfrm>
          <a:prstGeom prst="rect">
            <a:avLst/>
          </a:prstGeom>
        </p:spPr>
      </p:pic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3F971249-5979-2368-F1C4-62CA7A3E8D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1" cy="6858000"/>
          </a:xfrm>
          <a:custGeom>
            <a:avLst/>
            <a:gdLst>
              <a:gd name="connsiteX0" fmla="*/ 3077268 w 6096001"/>
              <a:gd name="connsiteY0" fmla="*/ 3517274 h 6858000"/>
              <a:gd name="connsiteX1" fmla="*/ 3608256 w 6096001"/>
              <a:gd name="connsiteY1" fmla="*/ 4024085 h 6858000"/>
              <a:gd name="connsiteX2" fmla="*/ 3609649 w 6096001"/>
              <a:gd name="connsiteY2" fmla="*/ 4025458 h 6858000"/>
              <a:gd name="connsiteX3" fmla="*/ 3064725 w 6096001"/>
              <a:gd name="connsiteY3" fmla="*/ 4548751 h 6858000"/>
              <a:gd name="connsiteX4" fmla="*/ 2503076 w 6096001"/>
              <a:gd name="connsiteY4" fmla="*/ 3973266 h 6858000"/>
              <a:gd name="connsiteX5" fmla="*/ 3077268 w 6096001"/>
              <a:gd name="connsiteY5" fmla="*/ 3517274 h 6858000"/>
              <a:gd name="connsiteX6" fmla="*/ 3834030 w 6096001"/>
              <a:gd name="connsiteY6" fmla="*/ 1925421 h 6858000"/>
              <a:gd name="connsiteX7" fmla="*/ 1945608 w 6096001"/>
              <a:gd name="connsiteY7" fmla="*/ 3731535 h 6858000"/>
              <a:gd name="connsiteX8" fmla="*/ 3085630 w 6096001"/>
              <a:gd name="connsiteY8" fmla="*/ 5025345 h 6858000"/>
              <a:gd name="connsiteX9" fmla="*/ 4148999 w 6096001"/>
              <a:gd name="connsiteY9" fmla="*/ 4015844 h 6858000"/>
              <a:gd name="connsiteX10" fmla="*/ 4150393 w 6096001"/>
              <a:gd name="connsiteY10" fmla="*/ 4015844 h 6858000"/>
              <a:gd name="connsiteX11" fmla="*/ 3195730 w 6096001"/>
              <a:gd name="connsiteY11" fmla="*/ 3083257 h 6858000"/>
              <a:gd name="connsiteX12" fmla="*/ 2525374 w 6096001"/>
              <a:gd name="connsiteY12" fmla="*/ 3338723 h 6858000"/>
              <a:gd name="connsiteX13" fmla="*/ 3946917 w 6096001"/>
              <a:gd name="connsiteY13" fmla="*/ 2402015 h 6858000"/>
              <a:gd name="connsiteX14" fmla="*/ 0 w 6096001"/>
              <a:gd name="connsiteY14" fmla="*/ 0 h 6858000"/>
              <a:gd name="connsiteX15" fmla="*/ 5214397 w 6096001"/>
              <a:gd name="connsiteY15" fmla="*/ 0 h 6858000"/>
              <a:gd name="connsiteX16" fmla="*/ 6096001 w 6096001"/>
              <a:gd name="connsiteY16" fmla="*/ 881604 h 6858000"/>
              <a:gd name="connsiteX17" fmla="*/ 6096001 w 6096001"/>
              <a:gd name="connsiteY17" fmla="*/ 6858000 h 6858000"/>
              <a:gd name="connsiteX18" fmla="*/ 0 w 6096001"/>
              <a:gd name="connsiteY1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6096001" h="6858000">
                <a:moveTo>
                  <a:pt x="3077268" y="3517274"/>
                </a:moveTo>
                <a:cubicBezTo>
                  <a:pt x="3396418" y="3517274"/>
                  <a:pt x="3608256" y="3704066"/>
                  <a:pt x="3608256" y="4024085"/>
                </a:cubicBezTo>
                <a:lnTo>
                  <a:pt x="3609649" y="4025458"/>
                </a:lnTo>
                <a:cubicBezTo>
                  <a:pt x="3609649" y="4352344"/>
                  <a:pt x="3379694" y="4548751"/>
                  <a:pt x="3064725" y="4548751"/>
                </a:cubicBezTo>
                <a:cubicBezTo>
                  <a:pt x="2727457" y="4548751"/>
                  <a:pt x="2503076" y="4293285"/>
                  <a:pt x="2503076" y="3973266"/>
                </a:cubicBezTo>
                <a:cubicBezTo>
                  <a:pt x="2503076" y="3691705"/>
                  <a:pt x="2779022" y="3517274"/>
                  <a:pt x="3077268" y="3517274"/>
                </a:cubicBezTo>
                <a:close/>
                <a:moveTo>
                  <a:pt x="3834030" y="1925421"/>
                </a:moveTo>
                <a:cubicBezTo>
                  <a:pt x="2503076" y="1967999"/>
                  <a:pt x="1945608" y="2776973"/>
                  <a:pt x="1945608" y="3731535"/>
                </a:cubicBezTo>
                <a:cubicBezTo>
                  <a:pt x="1945608" y="4574847"/>
                  <a:pt x="2416668" y="5025345"/>
                  <a:pt x="3085630" y="5025345"/>
                </a:cubicBezTo>
                <a:cubicBezTo>
                  <a:pt x="3700238" y="5025345"/>
                  <a:pt x="4148999" y="4616051"/>
                  <a:pt x="4148999" y="4015844"/>
                </a:cubicBezTo>
                <a:lnTo>
                  <a:pt x="4150393" y="4015844"/>
                </a:lnTo>
                <a:cubicBezTo>
                  <a:pt x="4150393" y="3432119"/>
                  <a:pt x="3730899" y="3083257"/>
                  <a:pt x="3195730" y="3083257"/>
                </a:cubicBezTo>
                <a:cubicBezTo>
                  <a:pt x="2897484" y="3083257"/>
                  <a:pt x="2654986" y="3210990"/>
                  <a:pt x="2525374" y="3338723"/>
                </a:cubicBezTo>
                <a:cubicBezTo>
                  <a:pt x="2710732" y="2700059"/>
                  <a:pt x="3160888" y="2436352"/>
                  <a:pt x="3946917" y="2402015"/>
                </a:cubicBezTo>
                <a:close/>
                <a:moveTo>
                  <a:pt x="0" y="0"/>
                </a:moveTo>
                <a:lnTo>
                  <a:pt x="5214397" y="0"/>
                </a:lnTo>
                <a:cubicBezTo>
                  <a:pt x="5701293" y="0"/>
                  <a:pt x="6096001" y="394708"/>
                  <a:pt x="6096001" y="881604"/>
                </a:cubicBezTo>
                <a:lnTo>
                  <a:pt x="60960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ext Placeholder 29">
            <a:extLst>
              <a:ext uri="{FF2B5EF4-FFF2-40B4-BE49-F238E27FC236}">
                <a16:creationId xmlns:a16="http://schemas.microsoft.com/office/drawing/2014/main" id="{90F01191-6B5C-8711-84AB-0C200ABE5B8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13" name="Text Placeholder 31">
            <a:extLst>
              <a:ext uri="{FF2B5EF4-FFF2-40B4-BE49-F238E27FC236}">
                <a16:creationId xmlns:a16="http://schemas.microsoft.com/office/drawing/2014/main" id="{CC808A73-1645-699E-2C12-C2D15CC5206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3828250845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lank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5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93934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 cap="flat" cmpd="sng" algn="ctr">
            <a:solidFill>
              <a:srgbClr val="082F3B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ap="flat" cmpd="sng" algn="ctr">
            <a:solidFill>
              <a:srgbClr val="082F3B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8"/>
            <a:ext cx="3448800" cy="3447288"/>
          </a:xfrm>
          <a:prstGeom prst="rect">
            <a:avLst/>
          </a:prstGeom>
          <a:noFill/>
          <a:ln w="9525" cap="flat" cmpd="sng" algn="ctr">
            <a:solidFill>
              <a:srgbClr val="082F3B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992129" y="1115416"/>
            <a:ext cx="2723823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b="1">
                <a:solidFill>
                  <a:srgbClr val="000000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6686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 cap="flat" cmpd="sng" algn="ctr">
            <a:solidFill>
              <a:srgbClr val="082F3B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 cap="flat" cmpd="sng" algn="ctr">
            <a:solidFill>
              <a:srgbClr val="082F3B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563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b="1">
                <a:solidFill>
                  <a:srgbClr val="000000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ap="flat" cmpd="sng" algn="ctr">
            <a:solidFill>
              <a:srgbClr val="082F3B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52720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b="1">
                <a:solidFill>
                  <a:srgbClr val="000000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95034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b="1">
                <a:solidFill>
                  <a:srgbClr val="000000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85764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 Beige">
    <p:bg>
      <p:bgPr>
        <a:solidFill>
          <a:srgbClr val="F2E7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675845"/>
            <a:ext cx="2819400" cy="156594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4800" b="1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63069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Covax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97613"/>
            <a:ext cx="11082528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663224"/>
            <a:ext cx="11082528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b="0" baseline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93824822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 Covax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spAutoFit/>
          </a:bodyPr>
          <a:lstStyle>
            <a:lvl1pPr>
              <a:lnSpc>
                <a:spcPct val="100000"/>
              </a:lnSpc>
              <a:defRPr>
                <a:ln w="6350" cap="flat">
                  <a:noFill/>
                  <a:miter lim="800000"/>
                </a:ln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052CCADB-EF08-41D8-B6E1-D27B7E0CA862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7AB8E3C2-1F42-4CE8-A611-D37D46F00C39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84471448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 Covax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vert="horz"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8833F473-8E59-4468-9DAD-5B5B823CD8A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1C278EA2-839A-4B80-8F09-FF155A2123C1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62110270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13">
            <a:extLst>
              <a:ext uri="{FF2B5EF4-FFF2-40B4-BE49-F238E27FC236}">
                <a16:creationId xmlns:a16="http://schemas.microsoft.com/office/drawing/2014/main" id="{52467373-D57C-F842-8976-B87DEFBE83B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361533" y="441777"/>
            <a:ext cx="1304260" cy="487680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89FFAF13-E12B-E54E-B2B2-5142A884DB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1719" y="2936557"/>
            <a:ext cx="11154344" cy="984885"/>
          </a:xfrm>
        </p:spPr>
        <p:txBody>
          <a:bodyPr anchor="ctr">
            <a:spAutoFit/>
          </a:bodyPr>
          <a:lstStyle>
            <a:lvl1pPr>
              <a:lnSpc>
                <a:spcPct val="80000"/>
              </a:lnSpc>
              <a:defRPr sz="8000">
                <a:solidFill>
                  <a:schemeClr val="bg1"/>
                </a:solidFill>
              </a:defRPr>
            </a:lvl1pPr>
          </a:lstStyle>
          <a:p>
            <a:r>
              <a:rPr lang="en-GB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208756028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Covax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>
              <a:lnSpc>
                <a:spcPct val="100000"/>
              </a:lnSpc>
              <a:defRPr sz="4400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8173826E-A3CF-41AB-8957-9F0B784D192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791489904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Covax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30068"/>
            <a:ext cx="9180576" cy="549381"/>
          </a:xfrm>
          <a:prstGeom prst="rect">
            <a:avLst/>
          </a:prstGeom>
        </p:spPr>
        <p:txBody>
          <a:bodyPr vert="horz" anchor="b">
            <a:spAutoFit/>
          </a:bodyPr>
          <a:lstStyle>
            <a:lvl1pPr>
              <a:lnSpc>
                <a:spcPct val="105000"/>
              </a:lnSpc>
              <a:defRPr sz="3400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48A594FF-AF94-4CAC-90E6-2B9A5AB30B1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2DE072CE-3B00-41EC-B415-3189888D007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782983949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 Covax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F2E7E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78FD8C82-E39D-41D1-A2CC-B1597952BB9C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7464C0CD-0723-45A4-A263-515E8565C86B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1" y="6592511"/>
            <a:ext cx="25146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711700294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Covax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F2E7E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4041B4B9-5319-4CE5-AD44-D052002504D7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E1369BC2-0ABC-41FF-935B-30D4F07067A4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2" y="6592511"/>
            <a:ext cx="3465575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764313956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 Covax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F2E7E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97613"/>
            <a:ext cx="5065776" cy="384721"/>
          </a:xfrm>
        </p:spPr>
        <p:txBody>
          <a:bodyPr vert="horz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5065776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C5A0E3B7-0BEE-434E-9458-04AAF89FE7C4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B406476E-7049-492E-8D4C-6B435C88701C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1" y="6592511"/>
            <a:ext cx="50657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248877399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 Covax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97613"/>
            <a:ext cx="6967728" cy="384721"/>
          </a:xfrm>
        </p:spPr>
        <p:txBody>
          <a:bodyPr vert="horz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F2E7E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6967728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87C6732C-210A-4A2A-BDB7-ADAA15286F6D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C23F61CB-BFAD-418C-9A49-B57D79723157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1" y="6592511"/>
            <a:ext cx="6967728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342825650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Covax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F2E7E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97613"/>
            <a:ext cx="7918704" cy="384721"/>
          </a:xfrm>
        </p:spPr>
        <p:txBody>
          <a:bodyPr vert="horz">
            <a:no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u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5F93AA1E-3DA8-4E28-9E67-7940FA5E753E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A3BEE9D9-3E49-40F7-BDCF-A92122E0A43C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1" y="6592511"/>
            <a:ext cx="791870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66373890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 Covax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97613"/>
            <a:ext cx="11082528" cy="384721"/>
          </a:xfrm>
        </p:spPr>
        <p:txBody>
          <a:bodyPr vert="horz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54F8C1CD-74D5-434C-83F8-B9C7DBB2E26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75810F23-00B9-48FC-B55F-463DCB0D2C5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E6786D2-983E-41EF-BEF7-D90259B98660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784382464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Covax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F3B3D990-55D1-4D16-8683-4CED248BB7FA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B6A47C52-89C8-4B79-B4A2-FE61BCC240A9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631B731-7D3D-4CDD-91A3-61B827F06619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6970848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Default Covax Blue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7BAB6F72-153B-4D96-9581-14537DFBF2A2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97613"/>
            <a:ext cx="11082528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3C4DEA56-175B-4C35-8BBF-6EDC7F237677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663224"/>
            <a:ext cx="11082528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b="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C16AD063-E942-47D5-82E5-13B97A8A3E4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5. Source" hidden="1">
            <a:extLst>
              <a:ext uri="{FF2B5EF4-FFF2-40B4-BE49-F238E27FC236}">
                <a16:creationId xmlns:a16="http://schemas.microsoft.com/office/drawing/2014/main" id="{173ADFE0-3945-4289-B37F-454A6AF4D09C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42624AC-9390-4348-93AA-B2971A57E125}"/>
              </a:ext>
            </a:extLst>
          </p:cNvPr>
          <p:cNvCxnSpPr>
            <a:cxnSpLocks/>
          </p:cNvCxnSpPr>
          <p:nvPr userDrawn="1"/>
        </p:nvCxnSpPr>
        <p:spPr bwMode="invGray">
          <a:xfrm>
            <a:off x="554736" y="6450133"/>
            <a:ext cx="11082528" cy="0"/>
          </a:xfrm>
          <a:prstGeom prst="line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  <a:tailEnd type="none"/>
          </a:ln>
          <a:effectLst/>
        </p:spPr>
      </p:cxn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192394583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+ Image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89FFAF13-E12B-E54E-B2B2-5142A884DB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03106" y="2169758"/>
            <a:ext cx="4692628" cy="2518484"/>
          </a:xfrm>
        </p:spPr>
        <p:txBody>
          <a:bodyPr anchor="ctr">
            <a:noAutofit/>
          </a:bodyPr>
          <a:lstStyle>
            <a:lvl1pPr>
              <a:lnSpc>
                <a:spcPct val="9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Thank you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66C7CBD7-5355-7F4D-BEF2-28CEADC3C9D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361533" y="441777"/>
            <a:ext cx="1304260" cy="487680"/>
          </a:xfrm>
          <a:prstGeom prst="rect">
            <a:avLst/>
          </a:prstGeom>
        </p:spPr>
      </p:pic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B4768C2A-8E3C-DC4A-8FF7-DCBDDC643F7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" y="0"/>
            <a:ext cx="6096001" cy="6858000"/>
          </a:xfrm>
          <a:prstGeom prst="round1Rect">
            <a:avLst>
              <a:gd name="adj" fmla="val 14462"/>
            </a:avLst>
          </a:prstGeo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09943613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op Left Covax Blue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EDB0C68-81D8-4BCB-8FED-587D098337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EDB0C68-81D8-4BCB-8FED-587D09833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EAA134-9792-4D41-898E-A83D3A4E3D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4" name="2. Slide Title">
            <a:extLst>
              <a:ext uri="{FF2B5EF4-FFF2-40B4-BE49-F238E27FC236}">
                <a16:creationId xmlns:a16="http://schemas.microsoft.com/office/drawing/2014/main" id="{130C648B-00F1-4756-B7FD-55EEC13AD5E2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spAutoFit/>
          </a:bodyPr>
          <a:lstStyle>
            <a:lvl1pPr>
              <a:lnSpc>
                <a:spcPct val="100000"/>
              </a:lnSpc>
              <a:defRPr>
                <a:ln w="6350" cap="flat">
                  <a:noFill/>
                  <a:miter lim="800000"/>
                </a:ln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0A644AC5-4C97-40DD-8891-978E40642162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5. Source" hidden="1">
            <a:extLst>
              <a:ext uri="{FF2B5EF4-FFF2-40B4-BE49-F238E27FC236}">
                <a16:creationId xmlns:a16="http://schemas.microsoft.com/office/drawing/2014/main" id="{4B6FCBD0-9EED-4D7F-AD80-AC22EA2E0801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42624AC-9390-4348-93AA-B2971A57E125}"/>
              </a:ext>
            </a:extLst>
          </p:cNvPr>
          <p:cNvCxnSpPr>
            <a:cxnSpLocks/>
          </p:cNvCxnSpPr>
          <p:nvPr userDrawn="1"/>
        </p:nvCxnSpPr>
        <p:spPr bwMode="invGray">
          <a:xfrm>
            <a:off x="554736" y="6450133"/>
            <a:ext cx="11082528" cy="0"/>
          </a:xfrm>
          <a:prstGeom prst="line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  <a:tailEnd type="none"/>
          </a:ln>
          <a:effectLst/>
        </p:spPr>
      </p:cxn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3954651614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Mid Left Covax Blue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A53433-5DFE-4583-A5C0-DE3F3C3DDE8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83D84792-0B0B-4664-821F-3201F7ABBBC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vert="horz"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C4DE746D-74D1-4CA8-AEF2-3082DCF97414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42624AC-9390-4348-93AA-B2971A57E125}"/>
              </a:ext>
            </a:extLst>
          </p:cNvPr>
          <p:cNvCxnSpPr>
            <a:cxnSpLocks/>
          </p:cNvCxnSpPr>
          <p:nvPr userDrawn="1"/>
        </p:nvCxnSpPr>
        <p:spPr bwMode="invGray">
          <a:xfrm>
            <a:off x="554736" y="6450133"/>
            <a:ext cx="11082528" cy="0"/>
          </a:xfrm>
          <a:prstGeom prst="line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  <a:tailEnd type="none"/>
          </a:ln>
          <a:effectLst/>
        </p:spPr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1806701843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Section Covax Blue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8064E9-3153-4628-A7D5-81F8DEADB0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8064E9-3153-4628-A7D5-81F8DEADB0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4FCABF2-1291-4CAB-A39C-0FDD2FD8A1F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22E7B87A-C868-487C-8134-55B153ABB67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>
              <a:lnSpc>
                <a:spcPct val="100000"/>
              </a:lnSpc>
              <a:defRPr sz="44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E85CBC38-4304-4E52-88BB-5719D178F96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7A083299-2795-4A75-87AD-10FF35274734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42624AC-9390-4348-93AA-B2971A57E125}"/>
              </a:ext>
            </a:extLst>
          </p:cNvPr>
          <p:cNvCxnSpPr>
            <a:cxnSpLocks/>
          </p:cNvCxnSpPr>
          <p:nvPr userDrawn="1"/>
        </p:nvCxnSpPr>
        <p:spPr bwMode="invGray">
          <a:xfrm>
            <a:off x="554736" y="6450133"/>
            <a:ext cx="11082528" cy="0"/>
          </a:xfrm>
          <a:prstGeom prst="line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  <a:tailEnd type="none"/>
          </a:ln>
          <a:effectLst/>
        </p:spPr>
      </p:cxnSp>
      <p:sp>
        <p:nvSpPr>
          <p:cNvPr id="11" name="TextBox 10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974944077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Quote Covax Blue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2273FB-3270-4181-86FF-C1D92782D4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2273FB-3270-4181-86FF-C1D92782D4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E3D51E-EFF4-4CED-8D1C-0D351D7D32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8DD2041C-F3F9-4A35-A641-A7BFF301D265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30068"/>
            <a:ext cx="9180576" cy="549381"/>
          </a:xfrm>
          <a:prstGeom prst="rect">
            <a:avLst/>
          </a:prstGeom>
        </p:spPr>
        <p:txBody>
          <a:bodyPr vert="horz" anchor="b">
            <a:spAutoFit/>
          </a:bodyPr>
          <a:lstStyle>
            <a:lvl1pPr>
              <a:lnSpc>
                <a:spcPct val="105000"/>
              </a:lnSpc>
              <a:defRPr sz="34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1C771E3B-3A35-43E0-87EC-CB7275392984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5277E924-C1A9-40BB-86B3-F93E4DDEE377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5. Source" hidden="1">
            <a:extLst>
              <a:ext uri="{FF2B5EF4-FFF2-40B4-BE49-F238E27FC236}">
                <a16:creationId xmlns:a16="http://schemas.microsoft.com/office/drawing/2014/main" id="{2D5C08C8-8676-4B97-B143-D0BCAB1A24A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42624AC-9390-4348-93AA-B2971A57E125}"/>
              </a:ext>
            </a:extLst>
          </p:cNvPr>
          <p:cNvCxnSpPr>
            <a:cxnSpLocks/>
          </p:cNvCxnSpPr>
          <p:nvPr userDrawn="1"/>
        </p:nvCxnSpPr>
        <p:spPr bwMode="invGray">
          <a:xfrm>
            <a:off x="554736" y="6450133"/>
            <a:ext cx="11082528" cy="0"/>
          </a:xfrm>
          <a:prstGeom prst="line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  <a:tailEnd type="none"/>
          </a:ln>
          <a:effectLst/>
        </p:spPr>
      </p:cxn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2367642308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 Covax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2BA1E0C-CA9F-489D-B144-727B655BD1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082F3B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B3AF7FAF-5A1E-449A-AFCB-6BB5576FD431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2DD0F44B-6DFF-44EE-9F45-1D254F0668C5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9DAAC50C-5010-4268-B09D-D8B3AFE5350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D34D8527-ADF1-4D4B-8DCB-B8E85CDA0AB0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8F4B3637-F36D-4F7E-B113-9E181F80C5E8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1" y="6592511"/>
            <a:ext cx="25146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solidFill>
                  <a:schemeClr val="bg2"/>
                </a:solidFill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440883846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 Covax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FA1A46-CC63-4D80-904D-B75922926F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082F3B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A5C18B43-CBA2-4DCE-86D8-36DA9E34E53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EDDFF555-7130-4DEC-AA75-A2D3509A33E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4759C483-BEA3-443E-BF95-B2E82307422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B4880B3D-63D3-46B6-86FF-75C29D140149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5. Source" hidden="1">
            <a:extLst>
              <a:ext uri="{FF2B5EF4-FFF2-40B4-BE49-F238E27FC236}">
                <a16:creationId xmlns:a16="http://schemas.microsoft.com/office/drawing/2014/main" id="{5DBA380B-A61F-4985-80D8-1D1160EC3E6A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2" y="6592511"/>
            <a:ext cx="3465575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solidFill>
                  <a:schemeClr val="bg2"/>
                </a:solidFill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760965806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  Covax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082F3B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95168E9C-A39A-416B-BFC6-4F7CD031DEA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97613"/>
            <a:ext cx="5065776" cy="384721"/>
          </a:xfrm>
        </p:spPr>
        <p:txBody>
          <a:bodyPr vert="horz">
            <a:spAutoFit/>
          </a:bodyPr>
          <a:lstStyle>
            <a:lvl1pPr>
              <a:defRPr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3B05C0F1-4BB0-4F3C-BD5C-FF7C1D4B982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5065776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0C97B94B-EA98-48CE-AEFE-9EED3CEB687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8EE241F9-D2A5-40AE-A38A-45D59EE4E9D1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45C61F16-A04B-46D1-902F-0B2F4AECFDA4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1" y="6592511"/>
            <a:ext cx="50657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solidFill>
                  <a:schemeClr val="bg2"/>
                </a:solidFill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200393241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 Covax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082F3B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CD6361A6-30F0-415C-AD6D-A1FC7C23496A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97613"/>
            <a:ext cx="6967728" cy="384721"/>
          </a:xfrm>
        </p:spPr>
        <p:txBody>
          <a:bodyPr vert="horz">
            <a:spAutoFit/>
          </a:bodyPr>
          <a:lstStyle>
            <a:lvl1pPr>
              <a:defRPr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6CC1F533-5D00-40E8-AFF0-F1F39C9E7F0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6967728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B2DED70B-A66B-4002-B240-34CF2AC5B61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DDE4B76B-7247-4EE7-90A4-007A0C01D0C4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7CAB25D6-EC98-4AF4-B68D-1F1A8F2120CE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1" y="6592511"/>
            <a:ext cx="6967728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solidFill>
                  <a:schemeClr val="bg2"/>
                </a:solidFill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470457306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 Covax Blue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3" progId="TCLayout.ActiveDocument.1">
                  <p:embed/>
                </p:oleObj>
              </mc:Choice>
              <mc:Fallback>
                <p:oleObj name="think-cell Slide" r:id="rId9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91277579-8831-43CF-B160-16FF2827C046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97613"/>
            <a:ext cx="7918704" cy="384721"/>
          </a:xfrm>
        </p:spPr>
        <p:txBody>
          <a:bodyPr vert="horz">
            <a:noAutofit/>
          </a:bodyPr>
          <a:lstStyle>
            <a:lvl1pPr>
              <a:defRPr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9FB33C37-8F8E-450C-B956-CCA2C562F08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663224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u="none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3A776699-A364-4F3B-A0A3-7B19AC18D333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330858C7-9375-4CF0-A13F-244BB3A00EDB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3971" y="6592511"/>
            <a:ext cx="791870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solidFill>
                  <a:schemeClr val="bg2"/>
                </a:solidFill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5277E924-C1A9-40BB-86B3-F93E4DDEE377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E4EFCE78-7EAC-4D68-BC89-E0028F36523C}"/>
              </a:ext>
            </a:extLst>
          </p:cNvPr>
          <p:cNvCxnSpPr>
            <a:cxnSpLocks/>
          </p:cNvCxnSpPr>
          <p:nvPr userDrawn="1"/>
        </p:nvCxnSpPr>
        <p:spPr bwMode="inv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95914403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1/2 Covax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rgbClr val="082F3B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97613"/>
            <a:ext cx="5065776" cy="384721"/>
          </a:xfrm>
        </p:spPr>
        <p:txBody>
          <a:bodyPr vert="horz">
            <a:sp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5065776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4DD9C749-8CD6-483D-AC3C-7F8CFA2B373A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3971" y="6592511"/>
            <a:ext cx="50657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1401A3E2-ECC8-43C9-A61C-068D51FCD055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63218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+ Image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4">
            <a:extLst>
              <a:ext uri="{FF2B5EF4-FFF2-40B4-BE49-F238E27FC236}">
                <a16:creationId xmlns:a16="http://schemas.microsoft.com/office/drawing/2014/main" id="{86A756F5-203A-4C4F-9479-348B2905A666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501514" y="0"/>
            <a:ext cx="6690486" cy="6858000"/>
          </a:xfrm>
          <a:custGeom>
            <a:avLst/>
            <a:gdLst>
              <a:gd name="connsiteX0" fmla="*/ 0 w 7942912"/>
              <a:gd name="connsiteY0" fmla="*/ 0 h 6858000"/>
              <a:gd name="connsiteX1" fmla="*/ 7942912 w 7942912"/>
              <a:gd name="connsiteY1" fmla="*/ 0 h 6858000"/>
              <a:gd name="connsiteX2" fmla="*/ 7942912 w 7942912"/>
              <a:gd name="connsiteY2" fmla="*/ 6858000 h 6858000"/>
              <a:gd name="connsiteX3" fmla="*/ 704040 w 7942912"/>
              <a:gd name="connsiteY3" fmla="*/ 6858000 h 6858000"/>
              <a:gd name="connsiteX4" fmla="*/ 704040 w 7942912"/>
              <a:gd name="connsiteY4" fmla="*/ 704067 h 6858000"/>
              <a:gd name="connsiteX5" fmla="*/ 141865 w 7942912"/>
              <a:gd name="connsiteY5" fmla="*/ 1430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42912" h="6858000">
                <a:moveTo>
                  <a:pt x="0" y="0"/>
                </a:moveTo>
                <a:lnTo>
                  <a:pt x="7942912" y="0"/>
                </a:lnTo>
                <a:lnTo>
                  <a:pt x="7942912" y="6858000"/>
                </a:lnTo>
                <a:lnTo>
                  <a:pt x="704040" y="6858000"/>
                </a:lnTo>
                <a:lnTo>
                  <a:pt x="704040" y="704067"/>
                </a:lnTo>
                <a:cubicBezTo>
                  <a:pt x="704040" y="363826"/>
                  <a:pt x="462698" y="79953"/>
                  <a:pt x="141865" y="1430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insert pictu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4F144B-74C7-A148-8E87-6034061E0CB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9" y="1700213"/>
            <a:ext cx="4692628" cy="234609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89FFAF13-E12B-E54E-B2B2-5142A884DB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2309427"/>
            <a:ext cx="4692628" cy="2518484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878A746-9E85-F24C-AD58-8F45F83396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9" y="5721999"/>
            <a:ext cx="4692628" cy="187359"/>
          </a:xfrm>
        </p:spPr>
        <p:txBody>
          <a:bodyPr anchor="b">
            <a:spAutoFit/>
          </a:bodyPr>
          <a:lstStyle>
            <a:lvl1pPr>
              <a:defRPr sz="1200" spc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7AFD6BA4-8A31-2C45-81C0-67141C06959C}"/>
              </a:ext>
            </a:extLst>
          </p:cNvPr>
          <p:cNvSpPr txBox="1">
            <a:spLocks/>
          </p:cNvSpPr>
          <p:nvPr userDrawn="1"/>
        </p:nvSpPr>
        <p:spPr>
          <a:xfrm>
            <a:off x="515938" y="6173816"/>
            <a:ext cx="1303626" cy="315884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800" b="1">
                <a:solidFill>
                  <a:schemeClr val="bg2"/>
                </a:solidFill>
              </a:rPr>
              <a:t>gavi.org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C10119D7-2EC9-4840-AC33-164E7101833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351263" y="443457"/>
            <a:ext cx="1324800" cy="48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369853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5232317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2/3 Covax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4361688" cy="6858000"/>
          </a:xfrm>
          <a:prstGeom prst="rect">
            <a:avLst/>
          </a:prstGeom>
          <a:solidFill>
            <a:srgbClr val="082F3B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465576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A2A8C6A2-26B8-46D0-B6A4-4D8C91B2772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>
              <a:defRPr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63DE0353-99BC-4322-9D9F-E3C1556B87A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4" y="3659644"/>
            <a:ext cx="3465576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75507215-AD33-47BA-978C-854396B566AA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3971" y="6592511"/>
            <a:ext cx="34655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1401A3E2-ECC8-43C9-A61C-068D51FCD055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5959165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 Covax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3410584" cy="6858000"/>
          </a:xfrm>
          <a:prstGeom prst="rect">
            <a:avLst/>
          </a:prstGeom>
          <a:solidFill>
            <a:srgbClr val="082F3B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noProof="0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251460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201E918A-7ADD-4595-9E5C-36C3D305CA4A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A0895B2F-2F72-4935-BC7F-BEA280D6C542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A873E4B4-299B-415F-B0C6-99147E8008E0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3971" y="6592511"/>
            <a:ext cx="25146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1401A3E2-ECC8-43C9-A61C-068D51FCD055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835347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 Covax Blue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937BF69-DBBB-44FA-AA65-8999BD8B4E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937BF69-DBBB-44FA-AA65-8999BD8B4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440E0BC-D285-4CB0-BC8F-8E2C57BF2A2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9" name="2. Slide Title">
            <a:extLst>
              <a:ext uri="{FF2B5EF4-FFF2-40B4-BE49-F238E27FC236}">
                <a16:creationId xmlns:a16="http://schemas.microsoft.com/office/drawing/2014/main" id="{A212A9AD-EC41-4379-BF1D-C100E927B4C2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97613"/>
            <a:ext cx="11082528" cy="384721"/>
          </a:xfrm>
        </p:spPr>
        <p:txBody>
          <a:bodyPr vert="horz">
            <a:sp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A49D4B69-B493-403C-B640-6993CD92BA39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5277E924-C1A9-40BB-86B3-F93E4DDEE377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4EFCE78-7EAC-4D68-BC89-E0028F36523C}"/>
              </a:ext>
            </a:extLst>
          </p:cNvPr>
          <p:cNvCxnSpPr>
            <a:cxnSpLocks/>
          </p:cNvCxnSpPr>
          <p:nvPr userDrawn="1"/>
        </p:nvCxnSpPr>
        <p:spPr bwMode="inv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1015189900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 Covax Blue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CD2BF5E-92A7-41C4-93AE-C72274D09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CD2BF5E-92A7-41C4-93AE-C72274D09C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49FDDFD3-EDB6-430C-8803-9B06D84C1E1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5277E924-C1A9-40BB-86B3-F93E4DDEE377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4EFCE78-7EAC-4D68-BC89-E0028F36523C}"/>
              </a:ext>
            </a:extLst>
          </p:cNvPr>
          <p:cNvCxnSpPr>
            <a:cxnSpLocks/>
          </p:cNvCxnSpPr>
          <p:nvPr userDrawn="1"/>
        </p:nvCxnSpPr>
        <p:spPr bwMode="inv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248179149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fault COVA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97613"/>
            <a:ext cx="11082528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663224"/>
            <a:ext cx="11082528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b="0" baseline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9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035346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p Left COVA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spAutoFit/>
          </a:bodyPr>
          <a:lstStyle>
            <a:lvl1pPr>
              <a:lnSpc>
                <a:spcPct val="100000"/>
              </a:lnSpc>
              <a:defRPr>
                <a:ln w="6350" cap="flat">
                  <a:noFill/>
                  <a:miter lim="800000"/>
                </a:ln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052CCADB-EF08-41D8-B6E1-D27B7E0CA862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7AB8E3C2-1F42-4CE8-A611-D37D46F00C39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3224904564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id Left COVA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vert="horz"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8833F473-8E59-4468-9DAD-5B5B823CD8A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1C278EA2-839A-4B80-8F09-FF155A2123C1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2742946235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COVA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>
              <a:lnSpc>
                <a:spcPct val="100000"/>
              </a:lnSpc>
              <a:defRPr sz="4400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8173826E-A3CF-41AB-8957-9F0B784D192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3531402568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COVA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30068"/>
            <a:ext cx="9180576" cy="549381"/>
          </a:xfrm>
          <a:prstGeom prst="rect">
            <a:avLst/>
          </a:prstGeom>
        </p:spPr>
        <p:txBody>
          <a:bodyPr vert="horz" anchor="b">
            <a:spAutoFit/>
          </a:bodyPr>
          <a:lstStyle>
            <a:lvl1pPr>
              <a:lnSpc>
                <a:spcPct val="105000"/>
              </a:lnSpc>
              <a:defRPr sz="3400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48A594FF-AF94-4CAC-90E6-2B9A5AB30B1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2DE072CE-3B00-41EC-B415-3189888D007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2555701744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 COVA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F2E7E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78FD8C82-E39D-41D1-A2CC-B1597952BB9C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7464C0CD-0723-45A4-A263-515E8565C86B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1" y="6592511"/>
            <a:ext cx="25146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90207061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2" spcCol="54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7143300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COVA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F2E7E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4041B4B9-5319-4CE5-AD44-D052002504D7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E1369BC2-0ABC-41FF-935B-30D4F07067A4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2" y="6592511"/>
            <a:ext cx="3465575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231303761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 COVA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F2E7E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97613"/>
            <a:ext cx="5065776" cy="384721"/>
          </a:xfrm>
        </p:spPr>
        <p:txBody>
          <a:bodyPr vert="horz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5065776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C5A0E3B7-0BEE-434E-9458-04AAF89FE7C4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B406476E-7049-492E-8D4C-6B435C88701C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1" y="6592511"/>
            <a:ext cx="50657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866466284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 COVA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97613"/>
            <a:ext cx="6967728" cy="384721"/>
          </a:xfrm>
        </p:spPr>
        <p:txBody>
          <a:bodyPr vert="horz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F2E7E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6967728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87C6732C-210A-4A2A-BDB7-ADAA15286F6D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C23F61CB-BFAD-418C-9A49-B57D79723157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1" y="6592511"/>
            <a:ext cx="6967728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427090838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COVA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F2E7E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97613"/>
            <a:ext cx="7918704" cy="384721"/>
          </a:xfrm>
        </p:spPr>
        <p:txBody>
          <a:bodyPr vert="horz">
            <a:no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u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5F93AA1E-3DA8-4E28-9E67-7940FA5E753E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A3BEE9D9-3E49-40F7-BDCF-A92122E0A43C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1" y="6592511"/>
            <a:ext cx="791870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030792922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 COVA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97613"/>
            <a:ext cx="11082528" cy="384721"/>
          </a:xfrm>
        </p:spPr>
        <p:txBody>
          <a:bodyPr vert="horz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54F8C1CD-74D5-434C-83F8-B9C7DBB2E26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75810F23-00B9-48FC-B55F-463DCB0D2C5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6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736328468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COVA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F3B3D990-55D1-4D16-8683-4CED248BB7FA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B6A47C52-89C8-4B79-B4A2-FE61BCC240A9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631B731-7D3D-4CDD-91A3-61B827F06619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89504701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Default COVAX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7BAB6F72-153B-4D96-9581-14537DFBF2A2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97613"/>
            <a:ext cx="11082528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3C4DEA56-175B-4C35-8BBF-6EDC7F237677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663224"/>
            <a:ext cx="11082528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b="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C16AD063-E942-47D5-82E5-13B97A8A3E4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5. Source" hidden="1">
            <a:extLst>
              <a:ext uri="{FF2B5EF4-FFF2-40B4-BE49-F238E27FC236}">
                <a16:creationId xmlns:a16="http://schemas.microsoft.com/office/drawing/2014/main" id="{173ADFE0-3945-4289-B37F-454A6AF4D09C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42624AC-9390-4348-93AA-B2971A57E125}"/>
              </a:ext>
            </a:extLst>
          </p:cNvPr>
          <p:cNvCxnSpPr>
            <a:cxnSpLocks/>
          </p:cNvCxnSpPr>
          <p:nvPr userDrawn="1"/>
        </p:nvCxnSpPr>
        <p:spPr bwMode="invGray">
          <a:xfrm>
            <a:off x="554736" y="6450133"/>
            <a:ext cx="11082528" cy="0"/>
          </a:xfrm>
          <a:prstGeom prst="line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  <a:tailEnd type="none"/>
          </a:ln>
          <a:effectLst/>
        </p:spPr>
      </p:cxn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358197126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op Left COVAX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EDB0C68-81D8-4BCB-8FED-587D098337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EDB0C68-81D8-4BCB-8FED-587D09833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EAA134-9792-4D41-898E-A83D3A4E3D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4" name="2. Slide Title">
            <a:extLst>
              <a:ext uri="{FF2B5EF4-FFF2-40B4-BE49-F238E27FC236}">
                <a16:creationId xmlns:a16="http://schemas.microsoft.com/office/drawing/2014/main" id="{130C648B-00F1-4756-B7FD-55EEC13AD5E2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spAutoFit/>
          </a:bodyPr>
          <a:lstStyle>
            <a:lvl1pPr>
              <a:lnSpc>
                <a:spcPct val="100000"/>
              </a:lnSpc>
              <a:defRPr>
                <a:ln w="6350" cap="flat">
                  <a:noFill/>
                  <a:miter lim="800000"/>
                </a:ln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0A644AC5-4C97-40DD-8891-978E40642162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5. Source" hidden="1">
            <a:extLst>
              <a:ext uri="{FF2B5EF4-FFF2-40B4-BE49-F238E27FC236}">
                <a16:creationId xmlns:a16="http://schemas.microsoft.com/office/drawing/2014/main" id="{4B6FCBD0-9EED-4D7F-AD80-AC22EA2E0801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42624AC-9390-4348-93AA-B2971A57E125}"/>
              </a:ext>
            </a:extLst>
          </p:cNvPr>
          <p:cNvCxnSpPr>
            <a:cxnSpLocks/>
          </p:cNvCxnSpPr>
          <p:nvPr userDrawn="1"/>
        </p:nvCxnSpPr>
        <p:spPr bwMode="invGray">
          <a:xfrm>
            <a:off x="554736" y="6450133"/>
            <a:ext cx="11082528" cy="0"/>
          </a:xfrm>
          <a:prstGeom prst="line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  <a:tailEnd type="none"/>
          </a:ln>
          <a:effectLst/>
        </p:spPr>
      </p:cxn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1244564968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Mid Left COVAX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A53433-5DFE-4583-A5C0-DE3F3C3DDE8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83D84792-0B0B-4664-821F-3201F7ABBBC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vert="horz"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C4DE746D-74D1-4CA8-AEF2-3082DCF97414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42624AC-9390-4348-93AA-B2971A57E125}"/>
              </a:ext>
            </a:extLst>
          </p:cNvPr>
          <p:cNvCxnSpPr>
            <a:cxnSpLocks/>
          </p:cNvCxnSpPr>
          <p:nvPr userDrawn="1"/>
        </p:nvCxnSpPr>
        <p:spPr bwMode="invGray">
          <a:xfrm>
            <a:off x="554736" y="6450133"/>
            <a:ext cx="11082528" cy="0"/>
          </a:xfrm>
          <a:prstGeom prst="line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  <a:tailEnd type="none"/>
          </a:ln>
          <a:effectLst/>
        </p:spPr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2226480480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Section COVAX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8064E9-3153-4628-A7D5-81F8DEADB0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8064E9-3153-4628-A7D5-81F8DEADB0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4FCABF2-1291-4CAB-A39C-0FDD2FD8A1F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22E7B87A-C868-487C-8134-55B153ABB67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>
              <a:lnSpc>
                <a:spcPct val="100000"/>
              </a:lnSpc>
              <a:defRPr sz="44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E85CBC38-4304-4E52-88BB-5719D178F96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7A083299-2795-4A75-87AD-10FF35274734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42624AC-9390-4348-93AA-B2971A57E125}"/>
              </a:ext>
            </a:extLst>
          </p:cNvPr>
          <p:cNvCxnSpPr>
            <a:cxnSpLocks/>
          </p:cNvCxnSpPr>
          <p:nvPr userDrawn="1"/>
        </p:nvCxnSpPr>
        <p:spPr bwMode="invGray">
          <a:xfrm>
            <a:off x="554736" y="6450133"/>
            <a:ext cx="11082528" cy="0"/>
          </a:xfrm>
          <a:prstGeom prst="line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  <a:tailEnd type="none"/>
          </a:ln>
          <a:effectLst/>
        </p:spPr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204148007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2" spcCol="360000"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8692574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Quote COVAX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2273FB-3270-4181-86FF-C1D92782D4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2273FB-3270-4181-86FF-C1D92782D4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E3D51E-EFF4-4CED-8D1C-0D351D7D32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8DD2041C-F3F9-4A35-A641-A7BFF301D265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30068"/>
            <a:ext cx="9180576" cy="549381"/>
          </a:xfrm>
          <a:prstGeom prst="rect">
            <a:avLst/>
          </a:prstGeom>
        </p:spPr>
        <p:txBody>
          <a:bodyPr vert="horz" anchor="b">
            <a:spAutoFit/>
          </a:bodyPr>
          <a:lstStyle>
            <a:lvl1pPr>
              <a:lnSpc>
                <a:spcPct val="105000"/>
              </a:lnSpc>
              <a:defRPr sz="34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1C771E3B-3A35-43E0-87EC-CB7275392984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5277E924-C1A9-40BB-86B3-F93E4DDEE377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5. Source" hidden="1">
            <a:extLst>
              <a:ext uri="{FF2B5EF4-FFF2-40B4-BE49-F238E27FC236}">
                <a16:creationId xmlns:a16="http://schemas.microsoft.com/office/drawing/2014/main" id="{2D5C08C8-8676-4B97-B143-D0BCAB1A24A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42624AC-9390-4348-93AA-B2971A57E125}"/>
              </a:ext>
            </a:extLst>
          </p:cNvPr>
          <p:cNvCxnSpPr>
            <a:cxnSpLocks/>
          </p:cNvCxnSpPr>
          <p:nvPr userDrawn="1"/>
        </p:nvCxnSpPr>
        <p:spPr bwMode="invGray">
          <a:xfrm>
            <a:off x="554736" y="6450133"/>
            <a:ext cx="11082528" cy="0"/>
          </a:xfrm>
          <a:prstGeom prst="line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  <a:tailEnd type="none"/>
          </a:ln>
          <a:effectLst/>
        </p:spPr>
      </p:cxn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2703084114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 COVA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2BA1E0C-CA9F-489D-B144-727B655BD1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082F3B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B3AF7FAF-5A1E-449A-AFCB-6BB5576FD431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2DD0F44B-6DFF-44EE-9F45-1D254F0668C5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9DAAC50C-5010-4268-B09D-D8B3AFE5350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D34D8527-ADF1-4D4B-8DCB-B8E85CDA0AB0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8F4B3637-F36D-4F7E-B113-9E181F80C5E8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1" y="6592511"/>
            <a:ext cx="25146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solidFill>
                  <a:schemeClr val="bg2"/>
                </a:solidFill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196953910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 COVA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FA1A46-CC63-4D80-904D-B75922926F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082F3B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A5C18B43-CBA2-4DCE-86D8-36DA9E34E53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EDDFF555-7130-4DEC-AA75-A2D3509A33E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4759C483-BEA3-443E-BF95-B2E82307422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B4880B3D-63D3-46B6-86FF-75C29D140149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5. Source" hidden="1">
            <a:extLst>
              <a:ext uri="{FF2B5EF4-FFF2-40B4-BE49-F238E27FC236}">
                <a16:creationId xmlns:a16="http://schemas.microsoft.com/office/drawing/2014/main" id="{5DBA380B-A61F-4985-80D8-1D1160EC3E6A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2" y="6592511"/>
            <a:ext cx="3465575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solidFill>
                  <a:schemeClr val="bg2"/>
                </a:solidFill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275808722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 COVA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082F3B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95168E9C-A39A-416B-BFC6-4F7CD031DEA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97613"/>
            <a:ext cx="5065776" cy="384721"/>
          </a:xfrm>
        </p:spPr>
        <p:txBody>
          <a:bodyPr vert="horz">
            <a:spAutoFit/>
          </a:bodyPr>
          <a:lstStyle>
            <a:lvl1pPr>
              <a:defRPr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3B05C0F1-4BB0-4F3C-BD5C-FF7C1D4B982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5065776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0C97B94B-EA98-48CE-AEFE-9EED3CEB687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8EE241F9-D2A5-40AE-A38A-45D59EE4E9D1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45C61F16-A04B-46D1-902F-0B2F4AECFDA4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1" y="6592511"/>
            <a:ext cx="50657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solidFill>
                  <a:schemeClr val="bg2"/>
                </a:solidFill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510848934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 COVA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082F3B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CD6361A6-30F0-415C-AD6D-A1FC7C23496A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97613"/>
            <a:ext cx="6967728" cy="384721"/>
          </a:xfrm>
        </p:spPr>
        <p:txBody>
          <a:bodyPr vert="horz">
            <a:spAutoFit/>
          </a:bodyPr>
          <a:lstStyle>
            <a:lvl1pPr>
              <a:defRPr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6CC1F533-5D00-40E8-AFF0-F1F39C9E7F0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6967728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B2DED70B-A66B-4002-B240-34CF2AC5B61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DDE4B76B-7247-4EE7-90A4-007A0C01D0C4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7CAB25D6-EC98-4AF4-B68D-1F1A8F2120CE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1" y="6592511"/>
            <a:ext cx="6967728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solidFill>
                  <a:schemeClr val="bg2"/>
                </a:solidFill>
                <a:latin typeface="+mn-lt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033002244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 COVAX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3" progId="TCLayout.ActiveDocument.1">
                  <p:embed/>
                </p:oleObj>
              </mc:Choice>
              <mc:Fallback>
                <p:oleObj name="think-cell Slide" r:id="rId9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91277579-8831-43CF-B160-16FF2827C046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97613"/>
            <a:ext cx="7918704" cy="384721"/>
          </a:xfrm>
        </p:spPr>
        <p:txBody>
          <a:bodyPr vert="horz">
            <a:noAutofit/>
          </a:bodyPr>
          <a:lstStyle>
            <a:lvl1pPr>
              <a:defRPr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9FB33C37-8F8E-450C-B956-CCA2C562F08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663224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u="none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3A776699-A364-4F3B-A0A3-7B19AC18D333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330858C7-9375-4CF0-A13F-244BB3A00EDB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3971" y="6592511"/>
            <a:ext cx="791870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solidFill>
                  <a:schemeClr val="bg2"/>
                </a:solidFill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5277E924-C1A9-40BB-86B3-F93E4DDEE377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E4EFCE78-7EAC-4D68-BC89-E0028F36523C}"/>
              </a:ext>
            </a:extLst>
          </p:cNvPr>
          <p:cNvCxnSpPr>
            <a:cxnSpLocks/>
          </p:cNvCxnSpPr>
          <p:nvPr userDrawn="1"/>
        </p:nvCxnSpPr>
        <p:spPr bwMode="inv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59180285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1/2 COVA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rgbClr val="082F3B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97613"/>
            <a:ext cx="5065776" cy="384721"/>
          </a:xfrm>
        </p:spPr>
        <p:txBody>
          <a:bodyPr vert="horz">
            <a:sp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5065776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4DD9C749-8CD6-483D-AC3C-7F8CFA2B373A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3971" y="6592511"/>
            <a:ext cx="50657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1401A3E2-ECC8-43C9-A61C-068D51FCD055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2344022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2/3 COVA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4361688" cy="6858000"/>
          </a:xfrm>
          <a:prstGeom prst="rect">
            <a:avLst/>
          </a:prstGeom>
          <a:solidFill>
            <a:srgbClr val="082F3B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465576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A2A8C6A2-26B8-46D0-B6A4-4D8C91B2772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>
              <a:defRPr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63DE0353-99BC-4322-9D9F-E3C1556B87A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4" y="3659644"/>
            <a:ext cx="3465576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75507215-AD33-47BA-978C-854396B566AA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3971" y="6592511"/>
            <a:ext cx="34655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1401A3E2-ECC8-43C9-A61C-068D51FCD055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1667674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 COVA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3410584" cy="6858000"/>
          </a:xfrm>
          <a:prstGeom prst="rect">
            <a:avLst/>
          </a:prstGeom>
          <a:solidFill>
            <a:srgbClr val="082F3B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noProof="0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251460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201E918A-7ADD-4595-9E5C-36C3D305CA4A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A0895B2F-2F72-4935-BC7F-BEA280D6C542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A873E4B4-299B-415F-B0C6-99147E8008E0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3971" y="6592511"/>
            <a:ext cx="25146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1401A3E2-ECC8-43C9-A61C-068D51FCD055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8829004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 COVAX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937BF69-DBBB-44FA-AA65-8999BD8B4E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937BF69-DBBB-44FA-AA65-8999BD8B4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440E0BC-D285-4CB0-BC8F-8E2C57BF2A2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9" name="2. Slide Title">
            <a:extLst>
              <a:ext uri="{FF2B5EF4-FFF2-40B4-BE49-F238E27FC236}">
                <a16:creationId xmlns:a16="http://schemas.microsoft.com/office/drawing/2014/main" id="{A212A9AD-EC41-4379-BF1D-C100E927B4C2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97613"/>
            <a:ext cx="11082528" cy="384721"/>
          </a:xfrm>
        </p:spPr>
        <p:txBody>
          <a:bodyPr vert="horz">
            <a:sp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A49D4B69-B493-403C-B640-6993CD92BA39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5277E924-C1A9-40BB-86B3-F93E4DDEE377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4EFCE78-7EAC-4D68-BC89-E0028F36523C}"/>
              </a:ext>
            </a:extLst>
          </p:cNvPr>
          <p:cNvCxnSpPr>
            <a:cxnSpLocks/>
          </p:cNvCxnSpPr>
          <p:nvPr userDrawn="1"/>
        </p:nvCxnSpPr>
        <p:spPr bwMode="inv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23519063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2" spcCol="360000"/>
          <a:lstStyle>
            <a:lvl1pPr marL="457200" indent="-457200">
              <a:buClr>
                <a:schemeClr val="bg2"/>
              </a:buClr>
              <a:buFont typeface="+mj-lt"/>
              <a:buAutoNum type="arabicPeriod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5776159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 COVAX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CD2BF5E-92A7-41C4-93AE-C72274D09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CD2BF5E-92A7-41C4-93AE-C72274D09C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49FDDFD3-EDB6-430C-8803-9B06D84C1E1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5277E924-C1A9-40BB-86B3-F93E4DDEE377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4EFCE78-7EAC-4D68-BC89-E0028F36523C}"/>
              </a:ext>
            </a:extLst>
          </p:cNvPr>
          <p:cNvCxnSpPr>
            <a:cxnSpLocks/>
          </p:cNvCxnSpPr>
          <p:nvPr userDrawn="1"/>
        </p:nvCxnSpPr>
        <p:spPr bwMode="inv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1647291756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7580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97613"/>
            <a:ext cx="11082528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663224"/>
            <a:ext cx="11082528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b="0" baseline="0" dirty="0"/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576920621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DAD3B3-741F-4CC3-A9B1-0AAEDBE4CF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3169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DAD3B3-741F-4CC3-A9B1-0AAEDBE4CF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0363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4425376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2" spcCol="54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7504645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2" spcCol="360000"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8476495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2" spcCol="360000"/>
          <a:lstStyle>
            <a:lvl1pPr marL="457200" indent="-457200">
              <a:buClr>
                <a:schemeClr val="bg2"/>
              </a:buClr>
              <a:buFont typeface="+mj-lt"/>
              <a:buAutoNum type="arabicPeriod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0302434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54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016097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ullets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360000"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8820228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Numbers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360000"/>
          <a:lstStyle>
            <a:lvl1pPr marL="457200" indent="-457200">
              <a:buClr>
                <a:schemeClr val="bg2"/>
              </a:buClr>
              <a:buFont typeface="+mj-lt"/>
              <a:buAutoNum type="arabicPeriod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008872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54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342709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ections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3534" y="1319651"/>
            <a:ext cx="5358213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867F760-C803-3AA5-7534-42750FD6DB15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2" y="1708830"/>
            <a:ext cx="5343019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87E7DAA2-4D74-8F73-20DD-AB5A220C5D1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17851" y="1319651"/>
            <a:ext cx="5358213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1E0345EA-841F-0CDC-4D3D-6F8A441AA78F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6333045" y="1708830"/>
            <a:ext cx="5343019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58134477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ection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9" y="1319651"/>
            <a:ext cx="3495194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867F760-C803-3AA5-7534-42750FD6DB15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2" y="1708830"/>
            <a:ext cx="3485283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3FBFCDEF-6E12-C006-44B4-B2738D0792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80334" y="1319651"/>
            <a:ext cx="3495194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3B5895DB-1292-CE69-F1CC-CA026DACAC13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4395527" y="1708830"/>
            <a:ext cx="3485283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4394A274-82C6-2D1C-8004-8E7FF7B76E2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69806" y="1319651"/>
            <a:ext cx="3495194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B32BCAEC-CD76-D152-C494-48F60F7BFD47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8184999" y="1708830"/>
            <a:ext cx="3485283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93891542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Text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034B91B1-8758-0946-BB4D-13DA0D9CFAE1}"/>
              </a:ext>
            </a:extLst>
          </p:cNvPr>
          <p:cNvSpPr/>
          <p:nvPr userDrawn="1"/>
        </p:nvSpPr>
        <p:spPr>
          <a:xfrm>
            <a:off x="6241145" y="1191566"/>
            <a:ext cx="5434921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6FD39105-B790-2C4F-B73F-33A5D9995EDE}"/>
              </a:ext>
            </a:extLst>
          </p:cNvPr>
          <p:cNvSpPr/>
          <p:nvPr userDrawn="1"/>
        </p:nvSpPr>
        <p:spPr>
          <a:xfrm>
            <a:off x="515936" y="1191566"/>
            <a:ext cx="5434921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39DFE4E8-481D-4E4A-B357-9B609A673B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5167" y="1378325"/>
            <a:ext cx="5036457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79EED86D-C792-B740-BC35-66A672B0762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5167" y="2154362"/>
            <a:ext cx="5036457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CE98006B-2C07-2C4F-A8AC-A5AC433ED8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5167" y="1597378"/>
            <a:ext cx="5036457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0C03D58-F9E4-0944-BD0B-946EEFB2476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40376" y="1378325"/>
            <a:ext cx="5036457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80BF694F-37D7-D44B-8712-1767A33CD12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40376" y="2154362"/>
            <a:ext cx="5036457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1C6985EF-42F3-0D40-99CA-20F5F21446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40376" y="1597378"/>
            <a:ext cx="5036457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38998190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Text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6FD39105-B790-2C4F-B73F-33A5D9995EDE}"/>
              </a:ext>
            </a:extLst>
          </p:cNvPr>
          <p:cNvSpPr/>
          <p:nvPr userDrawn="1"/>
        </p:nvSpPr>
        <p:spPr>
          <a:xfrm>
            <a:off x="515935" y="1191566"/>
            <a:ext cx="3604651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39DFE4E8-481D-4E4A-B357-9B609A673B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5167" y="1378325"/>
            <a:ext cx="3214437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79EED86D-C792-B740-BC35-66A672B0762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5167" y="2154362"/>
            <a:ext cx="3214437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CE98006B-2C07-2C4F-A8AC-A5AC433ED8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5167" y="1597378"/>
            <a:ext cx="3214437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A64DF4DD-379B-FE5B-85E1-F80F85D07E89}"/>
              </a:ext>
            </a:extLst>
          </p:cNvPr>
          <p:cNvSpPr/>
          <p:nvPr userDrawn="1"/>
        </p:nvSpPr>
        <p:spPr>
          <a:xfrm>
            <a:off x="4290784" y="1191566"/>
            <a:ext cx="3604650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602ADDF3-C22C-9F63-2736-9FAAEA9A1E9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90015" y="1378325"/>
            <a:ext cx="3201361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EC84208B-5390-D845-9BFC-BBE060B525E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90015" y="2154362"/>
            <a:ext cx="3201361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62DC5739-6579-EFF5-5EE5-B79F9F4E3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90015" y="1597378"/>
            <a:ext cx="3201361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8" name="Rounded Rectangle 37">
            <a:extLst>
              <a:ext uri="{FF2B5EF4-FFF2-40B4-BE49-F238E27FC236}">
                <a16:creationId xmlns:a16="http://schemas.microsoft.com/office/drawing/2014/main" id="{A0FC7906-8744-F3F8-AA4F-08ADB6E6D43E}"/>
              </a:ext>
            </a:extLst>
          </p:cNvPr>
          <p:cNvSpPr/>
          <p:nvPr userDrawn="1"/>
        </p:nvSpPr>
        <p:spPr>
          <a:xfrm>
            <a:off x="8065632" y="1191566"/>
            <a:ext cx="3604650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F3AC3934-9579-D587-96AD-27B72F22B27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64863" y="1378325"/>
            <a:ext cx="3211970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37A42317-1A24-1AA6-D076-0E969CCF8BE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264863" y="2154362"/>
            <a:ext cx="3211970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ADCC5B80-D27A-2762-3E95-436EEE5A0DE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64863" y="1597378"/>
            <a:ext cx="3211970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83252411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9" y="3319670"/>
            <a:ext cx="3287436" cy="2593767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2874301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A5AC520F-8595-0F44-99A9-F0873ACA4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2282" y="3319670"/>
            <a:ext cx="3287436" cy="2593767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52282" y="2874301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AD30B9DC-1666-7446-9DFD-F674A273B4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82846" y="3326198"/>
            <a:ext cx="3287436" cy="2593767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C7816D18-C579-DE44-B3B4-5D3819813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846" y="2880829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319B0B18-4860-DA36-3440-4533856C913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624205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BF99AA58-9FC0-03DF-8208-27BED5F44ED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458071" y="1624205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AD148B2F-B493-BFBF-8393-261886DA3EE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382846" y="1624205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26361285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78B95D78-F57A-6D40-A841-7D1E3B0827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8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8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7" name="Picture Placeholder 3">
            <a:extLst>
              <a:ext uri="{FF2B5EF4-FFF2-40B4-BE49-F238E27FC236}">
                <a16:creationId xmlns:a16="http://schemas.microsoft.com/office/drawing/2014/main" id="{F48D299A-6257-AC74-0FD7-6D22E29A5C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87491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9E3D1709-B9E8-6689-9456-9D1A08D7BAA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87491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C714C56E-261C-2C43-2BCC-4B86E64EE01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87491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Picture Placeholder 3">
            <a:extLst>
              <a:ext uri="{FF2B5EF4-FFF2-40B4-BE49-F238E27FC236}">
                <a16:creationId xmlns:a16="http://schemas.microsoft.com/office/drawing/2014/main" id="{7BD682FD-9976-0C80-A887-A4D6D2E292B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59044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A9A5BE6C-6EDB-FAB6-4644-C243D0C501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59044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CB0F2787-5A74-A6DE-F13C-3D79E01FA60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59044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201E793D-C775-4026-041E-34664EC7CB2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130597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804BD5F4-CAC4-3B9A-26F3-C0C1833171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30598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B233CA27-29C3-9FC3-D859-9E09C4A5F85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130598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69945403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78B95D78-F57A-6D40-A841-7D1E3B0827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7" name="Picture Placeholder 3">
            <a:extLst>
              <a:ext uri="{FF2B5EF4-FFF2-40B4-BE49-F238E27FC236}">
                <a16:creationId xmlns:a16="http://schemas.microsoft.com/office/drawing/2014/main" id="{F48D299A-6257-AC74-0FD7-6D22E29A5C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80268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9E3D1709-B9E8-6689-9456-9D1A08D7BAA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80268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C714C56E-261C-2C43-2BCC-4B86E64EE01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0268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Picture Placeholder 3">
            <a:extLst>
              <a:ext uri="{FF2B5EF4-FFF2-40B4-BE49-F238E27FC236}">
                <a16:creationId xmlns:a16="http://schemas.microsoft.com/office/drawing/2014/main" id="{7BD682FD-9976-0C80-A887-A4D6D2E292B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08943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A9A5BE6C-6EDB-FAB6-4644-C243D0C501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8943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CB0F2787-5A74-A6DE-F13C-3D79E01FA60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8943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201E793D-C775-4026-041E-34664EC7CB2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37618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804BD5F4-CAC4-3B9A-26F3-C0C1833171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37618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B233CA27-29C3-9FC3-D859-9E09C4A5F85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37618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6" name="Picture Placeholder 3">
            <a:extLst>
              <a:ext uri="{FF2B5EF4-FFF2-40B4-BE49-F238E27FC236}">
                <a16:creationId xmlns:a16="http://schemas.microsoft.com/office/drawing/2014/main" id="{8B57295D-E6CF-D31C-B144-FCA5CB14DF6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66293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7" name="Text Placeholder 6">
            <a:extLst>
              <a:ext uri="{FF2B5EF4-FFF2-40B4-BE49-F238E27FC236}">
                <a16:creationId xmlns:a16="http://schemas.microsoft.com/office/drawing/2014/main" id="{AD0246CA-EA99-001F-02B9-8BA52DCE733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662940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8" name="Text Placeholder 6">
            <a:extLst>
              <a:ext uri="{FF2B5EF4-FFF2-40B4-BE49-F238E27FC236}">
                <a16:creationId xmlns:a16="http://schemas.microsoft.com/office/drawing/2014/main" id="{3D355FF6-773D-9D18-B07A-AFAED992F8C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9662940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00160683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4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78B95D78-F57A-6D40-A841-7D1E3B0827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304925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549400" y="1687057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549400" y="1304925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D3B567E7-3D24-6F43-A35A-BBC5B9C571B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5938" y="3786232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93E388B6-7D3E-7F4E-89BF-34EFDCA27B0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549400" y="4168364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881671EB-257B-ED4B-947C-F1B6F4FDC86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549400" y="3786232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2691027-CA0E-E24A-BE52-C681CD1360B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498773" y="1304925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6C29C828-D0AF-8740-B636-DCE11FB0484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532235" y="1687057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58CECF4C-60E6-054F-A58B-39ED49ED6AD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532235" y="1304925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CD7BB1DF-4B0D-0046-AD00-F6E58908BDE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498773" y="3786232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FDABD8D9-C71A-A446-8E62-82A359216E9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532235" y="4168364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0340EBB2-1491-9444-9D25-3567B2AAB22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532235" y="3786232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00246209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3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23" name="Round Same-side Corner of Rectangle 22">
            <a:extLst>
              <a:ext uri="{FF2B5EF4-FFF2-40B4-BE49-F238E27FC236}">
                <a16:creationId xmlns:a16="http://schemas.microsoft.com/office/drawing/2014/main" id="{16D0EA1C-2C30-674C-9E0D-D3B85EFE8B44}"/>
              </a:ext>
            </a:extLst>
          </p:cNvPr>
          <p:cNvSpPr/>
          <p:nvPr userDrawn="1"/>
        </p:nvSpPr>
        <p:spPr>
          <a:xfrm rot="5400000" flipH="1">
            <a:off x="8698709" y="2420146"/>
            <a:ext cx="1350948" cy="563563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0933F7F4-7E4A-AD4A-B080-3883C01BCEA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955149" y="5013397"/>
            <a:ext cx="3715133" cy="792044"/>
          </a:xfrm>
        </p:spPr>
        <p:txBody>
          <a:bodyPr anchor="t">
            <a:normAutofit/>
          </a:bodyPr>
          <a:lstStyle>
            <a:lvl1pPr marL="179388" indent="-179388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66DF01F6-3014-6E4B-AB71-62673ED7268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955149" y="4663313"/>
            <a:ext cx="1917616" cy="24925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1600" b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E49618F2-620F-A042-9095-E7C4C137E2ED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957092" y="4846809"/>
            <a:ext cx="767874" cy="767874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7" name="Round Same-side Corner of Rectangle 26">
            <a:extLst>
              <a:ext uri="{FF2B5EF4-FFF2-40B4-BE49-F238E27FC236}">
                <a16:creationId xmlns:a16="http://schemas.microsoft.com/office/drawing/2014/main" id="{CFB215F2-B96A-D14F-B549-E8D9FA660A0B}"/>
              </a:ext>
            </a:extLst>
          </p:cNvPr>
          <p:cNvSpPr/>
          <p:nvPr userDrawn="1"/>
        </p:nvSpPr>
        <p:spPr>
          <a:xfrm rot="5400000" flipH="1">
            <a:off x="8698709" y="791363"/>
            <a:ext cx="1350948" cy="563563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F2701821-5C13-4746-B598-28CE9EEFDFD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955149" y="3384614"/>
            <a:ext cx="3715133" cy="792044"/>
          </a:xfrm>
        </p:spPr>
        <p:txBody>
          <a:bodyPr anchor="t">
            <a:normAutofit/>
          </a:bodyPr>
          <a:lstStyle>
            <a:lvl1pPr marL="179388" indent="-179388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8C928579-FF9D-8E4F-912D-F44BF03ECF0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955149" y="3034530"/>
            <a:ext cx="1917616" cy="24925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1600" b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B617E54E-8C7A-E24B-A3E6-FFD196430237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957092" y="3218026"/>
            <a:ext cx="767874" cy="767874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1" name="Round Same-side Corner of Rectangle 30">
            <a:extLst>
              <a:ext uri="{FF2B5EF4-FFF2-40B4-BE49-F238E27FC236}">
                <a16:creationId xmlns:a16="http://schemas.microsoft.com/office/drawing/2014/main" id="{468DF2F5-0340-4C4E-8BAB-B68D68BDB1CC}"/>
              </a:ext>
            </a:extLst>
          </p:cNvPr>
          <p:cNvSpPr/>
          <p:nvPr userDrawn="1"/>
        </p:nvSpPr>
        <p:spPr>
          <a:xfrm rot="5400000" flipH="1">
            <a:off x="8698709" y="-837418"/>
            <a:ext cx="1350948" cy="563563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8297A7AF-4FD1-0044-A50C-5C0CE488521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955149" y="1755833"/>
            <a:ext cx="3715133" cy="792044"/>
          </a:xfrm>
        </p:spPr>
        <p:txBody>
          <a:bodyPr anchor="t">
            <a:normAutofit/>
          </a:bodyPr>
          <a:lstStyle>
            <a:lvl1pPr marL="179388" indent="-179388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6C19D012-767E-A845-8105-4B4C4887921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955149" y="1405749"/>
            <a:ext cx="1917616" cy="24925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1600" b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DD5DD0FD-09C0-E049-944D-E6046E4FD565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957092" y="1589245"/>
            <a:ext cx="767874" cy="767874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846917392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 Chart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5498C8CE-3879-2F54-526A-4FB3BC35A614}"/>
              </a:ext>
            </a:extLst>
          </p:cNvPr>
          <p:cNvGrpSpPr/>
          <p:nvPr userDrawn="1"/>
        </p:nvGrpSpPr>
        <p:grpSpPr>
          <a:xfrm>
            <a:off x="506981" y="2354656"/>
            <a:ext cx="11169081" cy="3558782"/>
            <a:chOff x="506982" y="1923728"/>
            <a:chExt cx="8410120" cy="2679700"/>
          </a:xfrm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FF8E22B8-C626-33CF-AF31-C216F15358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859702" y="1923728"/>
              <a:ext cx="2057400" cy="2679700"/>
            </a:xfrm>
            <a:prstGeom prst="rect">
              <a:avLst/>
            </a:prstGeom>
          </p:spPr>
        </p:pic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51CC370D-D55C-CF1D-A84D-FC3FD269EF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733662" y="1923728"/>
              <a:ext cx="2209800" cy="2679700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0CF38F8D-CE10-398F-DC92-0410984D5CA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2607622" y="1923728"/>
              <a:ext cx="2209800" cy="2679700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71C8FE21-D454-2669-5018-BDB88B7A469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06982" y="1923728"/>
              <a:ext cx="2184400" cy="2679700"/>
            </a:xfrm>
            <a:prstGeom prst="rect">
              <a:avLst/>
            </a:prstGeom>
          </p:spPr>
        </p:pic>
      </p:grp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469A369E-3216-3A94-D069-C4212D6C5B2A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5"/>
            <a:ext cx="11144930" cy="853194"/>
          </a:xfrm>
        </p:spPr>
        <p:txBody>
          <a:bodyPr numCol="1" spcCol="180000"/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8A9C1315-921F-285F-D6BD-A177DE53DC2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5643" y="3054704"/>
            <a:ext cx="2290922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4F0999A6-8092-1A74-E3A2-26CC341F65C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5643" y="2501966"/>
            <a:ext cx="2290922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F5E81801-D408-BD68-8EF8-821176E431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583362" y="3054704"/>
            <a:ext cx="2231105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FE29D8EA-6114-4150-3B97-EAD0BB047B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83362" y="2501966"/>
            <a:ext cx="2231105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832C3EE2-E731-14E8-F235-F0DC107603F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396559" y="3054704"/>
            <a:ext cx="2251850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3514D2BC-4EB5-482F-640F-D4ECA3398E7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96559" y="2501966"/>
            <a:ext cx="2251850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176B8D71-6027-E9D4-DE0B-4336DE4C876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244461" y="3054704"/>
            <a:ext cx="2290922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006DA17C-A871-793A-2C8F-F98A0EDA8E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244461" y="2501966"/>
            <a:ext cx="2290922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1633036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ullets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360000"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0866978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63869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D67BD3D-5E5B-2957-7B72-B286DEA69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1DD0B93-9CA3-DE96-64E9-7FECBAD37972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id="{F3526303-0969-95FB-D8FA-0C9E39165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21" name="Picture 11">
            <a:extLst>
              <a:ext uri="{FF2B5EF4-FFF2-40B4-BE49-F238E27FC236}">
                <a16:creationId xmlns:a16="http://schemas.microsoft.com/office/drawing/2014/main" id="{24A4E3D3-8EF4-A80C-4780-9639C12D4E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6DFBA0EA-6763-E017-8DB4-792094E59657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6652260" y="1304924"/>
            <a:ext cx="5033328" cy="4608501"/>
          </a:xfrm>
        </p:spPr>
        <p:txBody>
          <a:bodyPr numCol="1" spcCol="180000">
            <a:noAutofit/>
          </a:bodyPr>
          <a:lstStyle>
            <a:lvl1pPr marL="0" indent="0"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400" b="1">
                <a:solidFill>
                  <a:schemeClr val="accent4"/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82767899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63869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D7BA9708-B496-A663-CB06-FD4F2E3602E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59525" y="3227929"/>
            <a:ext cx="5326063" cy="2685506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D67BD3D-5E5B-2957-7B72-B286DEA69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1DD0B93-9CA3-DE96-64E9-7FECBAD37972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id="{F3526303-0969-95FB-D8FA-0C9E39165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21" name="Picture 11">
            <a:extLst>
              <a:ext uri="{FF2B5EF4-FFF2-40B4-BE49-F238E27FC236}">
                <a16:creationId xmlns:a16="http://schemas.microsoft.com/office/drawing/2014/main" id="{24A4E3D3-8EF4-A80C-4780-9639C12D4E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6DFBA0EA-6763-E017-8DB4-792094E59657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6345193" y="1304925"/>
            <a:ext cx="5340395" cy="312265"/>
          </a:xfrm>
        </p:spPr>
        <p:txBody>
          <a:bodyPr numCol="1" spcCol="180000">
            <a:spAutoFit/>
          </a:bodyPr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 b="1">
                <a:solidFill>
                  <a:schemeClr val="accent4"/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4BC205A0-AF05-E822-A6D1-8E80B8895804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345193" y="5962960"/>
            <a:ext cx="5340395" cy="140488"/>
          </a:xfrm>
        </p:spPr>
        <p:txBody>
          <a:bodyPr numCol="1" spcCol="180000">
            <a:spAutoFit/>
          </a:bodyPr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Optional image caption</a:t>
            </a:r>
          </a:p>
        </p:txBody>
      </p:sp>
    </p:spTree>
    <p:extLst>
      <p:ext uri="{BB962C8B-B14F-4D97-AF65-F5344CB8AC3E}">
        <p14:creationId xmlns:p14="http://schemas.microsoft.com/office/powerpoint/2010/main" val="2200887658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5315BB4-CEA5-4429-26F4-D4B56B8BE14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59525" y="368300"/>
            <a:ext cx="5326063" cy="2685505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D7BA9708-B496-A663-CB06-FD4F2E3602E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59525" y="3227929"/>
            <a:ext cx="5326063" cy="2685506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D67BD3D-5E5B-2957-7B72-B286DEA69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1DD0B93-9CA3-DE96-64E9-7FECBAD37972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id="{F3526303-0969-95FB-D8FA-0C9E39165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21" name="Picture 11">
            <a:extLst>
              <a:ext uri="{FF2B5EF4-FFF2-40B4-BE49-F238E27FC236}">
                <a16:creationId xmlns:a16="http://schemas.microsoft.com/office/drawing/2014/main" id="{24A4E3D3-8EF4-A80C-4780-9639C12D4E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02F1485A-E0B4-C14E-58C4-9144A8FEE29C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345193" y="5962960"/>
            <a:ext cx="5340395" cy="140488"/>
          </a:xfrm>
        </p:spPr>
        <p:txBody>
          <a:bodyPr numCol="1" spcCol="180000">
            <a:spAutoFit/>
          </a:bodyPr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Optional image caption</a:t>
            </a:r>
          </a:p>
        </p:txBody>
      </p:sp>
    </p:spTree>
    <p:extLst>
      <p:ext uri="{BB962C8B-B14F-4D97-AF65-F5344CB8AC3E}">
        <p14:creationId xmlns:p14="http://schemas.microsoft.com/office/powerpoint/2010/main" val="3211321775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7">
            <a:extLst>
              <a:ext uri="{FF2B5EF4-FFF2-40B4-BE49-F238E27FC236}">
                <a16:creationId xmlns:a16="http://schemas.microsoft.com/office/drawing/2014/main" id="{1426049D-A517-EA42-AFCA-8DDB22C6BA3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495588" y="-10508"/>
            <a:ext cx="5711376" cy="6879020"/>
          </a:xfrm>
          <a:custGeom>
            <a:avLst/>
            <a:gdLst>
              <a:gd name="connsiteX0" fmla="*/ 0 w 7962406"/>
              <a:gd name="connsiteY0" fmla="*/ 0 h 6857999"/>
              <a:gd name="connsiteX1" fmla="*/ 7962406 w 7962406"/>
              <a:gd name="connsiteY1" fmla="*/ 0 h 6857999"/>
              <a:gd name="connsiteX2" fmla="*/ 7962406 w 7962406"/>
              <a:gd name="connsiteY2" fmla="*/ 6857999 h 6857999"/>
              <a:gd name="connsiteX3" fmla="*/ 1019785 w 7962406"/>
              <a:gd name="connsiteY3" fmla="*/ 6857999 h 6857999"/>
              <a:gd name="connsiteX4" fmla="*/ 0 w 7962406"/>
              <a:gd name="connsiteY4" fmla="*/ 5838214 h 6857999"/>
              <a:gd name="connsiteX0" fmla="*/ 0 w 7962406"/>
              <a:gd name="connsiteY0" fmla="*/ 0 h 6857999"/>
              <a:gd name="connsiteX1" fmla="*/ 6039013 w 7962406"/>
              <a:gd name="connsiteY1" fmla="*/ 84083 h 6857999"/>
              <a:gd name="connsiteX2" fmla="*/ 7962406 w 7962406"/>
              <a:gd name="connsiteY2" fmla="*/ 6857999 h 6857999"/>
              <a:gd name="connsiteX3" fmla="*/ 1019785 w 7962406"/>
              <a:gd name="connsiteY3" fmla="*/ 6857999 h 6857999"/>
              <a:gd name="connsiteX4" fmla="*/ 0 w 7962406"/>
              <a:gd name="connsiteY4" fmla="*/ 5838214 h 6857999"/>
              <a:gd name="connsiteX5" fmla="*/ 0 w 7962406"/>
              <a:gd name="connsiteY5" fmla="*/ 0 h 6857999"/>
              <a:gd name="connsiteX0" fmla="*/ 0 w 7962406"/>
              <a:gd name="connsiteY0" fmla="*/ 10510 h 6868509"/>
              <a:gd name="connsiteX1" fmla="*/ 6144117 w 7962406"/>
              <a:gd name="connsiteY1" fmla="*/ 0 h 6868509"/>
              <a:gd name="connsiteX2" fmla="*/ 7962406 w 7962406"/>
              <a:gd name="connsiteY2" fmla="*/ 6868509 h 6868509"/>
              <a:gd name="connsiteX3" fmla="*/ 1019785 w 7962406"/>
              <a:gd name="connsiteY3" fmla="*/ 6868509 h 6868509"/>
              <a:gd name="connsiteX4" fmla="*/ 0 w 7962406"/>
              <a:gd name="connsiteY4" fmla="*/ 5848724 h 6868509"/>
              <a:gd name="connsiteX5" fmla="*/ 0 w 7962406"/>
              <a:gd name="connsiteY5" fmla="*/ 10510 h 6868509"/>
              <a:gd name="connsiteX0" fmla="*/ 0 w 6144117"/>
              <a:gd name="connsiteY0" fmla="*/ 10510 h 6868509"/>
              <a:gd name="connsiteX1" fmla="*/ 6144117 w 6144117"/>
              <a:gd name="connsiteY1" fmla="*/ 0 h 6868509"/>
              <a:gd name="connsiteX2" fmla="*/ 5660640 w 6144117"/>
              <a:gd name="connsiteY2" fmla="*/ 6563709 h 6868509"/>
              <a:gd name="connsiteX3" fmla="*/ 1019785 w 6144117"/>
              <a:gd name="connsiteY3" fmla="*/ 6868509 h 6868509"/>
              <a:gd name="connsiteX4" fmla="*/ 0 w 6144117"/>
              <a:gd name="connsiteY4" fmla="*/ 5848724 h 6868509"/>
              <a:gd name="connsiteX5" fmla="*/ 0 w 6144117"/>
              <a:gd name="connsiteY5" fmla="*/ 10510 h 6868509"/>
              <a:gd name="connsiteX0" fmla="*/ 0 w 6154626"/>
              <a:gd name="connsiteY0" fmla="*/ 10510 h 6879020"/>
              <a:gd name="connsiteX1" fmla="*/ 6144117 w 6154626"/>
              <a:gd name="connsiteY1" fmla="*/ 0 h 6879020"/>
              <a:gd name="connsiteX2" fmla="*/ 6154626 w 6154626"/>
              <a:gd name="connsiteY2" fmla="*/ 6879020 h 6879020"/>
              <a:gd name="connsiteX3" fmla="*/ 1019785 w 6154626"/>
              <a:gd name="connsiteY3" fmla="*/ 6868509 h 6879020"/>
              <a:gd name="connsiteX4" fmla="*/ 0 w 6154626"/>
              <a:gd name="connsiteY4" fmla="*/ 5848724 h 6879020"/>
              <a:gd name="connsiteX5" fmla="*/ 0 w 6154626"/>
              <a:gd name="connsiteY5" fmla="*/ 10510 h 6879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54626" h="6879020">
                <a:moveTo>
                  <a:pt x="0" y="10510"/>
                </a:moveTo>
                <a:lnTo>
                  <a:pt x="6144117" y="0"/>
                </a:lnTo>
                <a:lnTo>
                  <a:pt x="6154626" y="6879020"/>
                </a:lnTo>
                <a:lnTo>
                  <a:pt x="1019785" y="6868509"/>
                </a:lnTo>
                <a:cubicBezTo>
                  <a:pt x="456573" y="6868509"/>
                  <a:pt x="0" y="6411936"/>
                  <a:pt x="0" y="5848724"/>
                </a:cubicBezTo>
                <a:lnTo>
                  <a:pt x="0" y="1051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insert pictur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E04A98-CDC1-2043-A233-CAA53ED2E1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43129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5289872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E04A98-CDC1-2043-A233-CAA53ED2E1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43129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D7270696-0AB9-0445-9B12-E1B6CE40D32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685640" y="0"/>
            <a:ext cx="6506360" cy="6858000"/>
          </a:xfrm>
          <a:custGeom>
            <a:avLst/>
            <a:gdLst>
              <a:gd name="connsiteX0" fmla="*/ 0 w 6506360"/>
              <a:gd name="connsiteY0" fmla="*/ 0 h 6858000"/>
              <a:gd name="connsiteX1" fmla="*/ 6506360 w 6506360"/>
              <a:gd name="connsiteY1" fmla="*/ 0 h 6858000"/>
              <a:gd name="connsiteX2" fmla="*/ 6506360 w 6506360"/>
              <a:gd name="connsiteY2" fmla="*/ 6858000 h 6858000"/>
              <a:gd name="connsiteX3" fmla="*/ 816590 w 6506360"/>
              <a:gd name="connsiteY3" fmla="*/ 6858000 h 6858000"/>
              <a:gd name="connsiteX4" fmla="*/ 816590 w 6506360"/>
              <a:gd name="connsiteY4" fmla="*/ 939979 h 6858000"/>
              <a:gd name="connsiteX5" fmla="*/ 57657 w 6506360"/>
              <a:gd name="connsiteY5" fmla="*/ 8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06360" h="6858000">
                <a:moveTo>
                  <a:pt x="0" y="0"/>
                </a:moveTo>
                <a:lnTo>
                  <a:pt x="6506360" y="0"/>
                </a:lnTo>
                <a:lnTo>
                  <a:pt x="6506360" y="6858000"/>
                </a:lnTo>
                <a:lnTo>
                  <a:pt x="816590" y="6858000"/>
                </a:lnTo>
                <a:lnTo>
                  <a:pt x="816590" y="939979"/>
                </a:lnTo>
                <a:cubicBezTo>
                  <a:pt x="816590" y="480656"/>
                  <a:pt x="490779" y="97429"/>
                  <a:pt x="57657" y="880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7DCA613B-D18E-594C-9579-2E40707B7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643128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262080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E04A98-CDC1-2043-A233-CAA53ED2E1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43129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D7270696-0AB9-0445-9B12-E1B6CE40D32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685640" y="0"/>
            <a:ext cx="6506360" cy="6858000"/>
          </a:xfrm>
          <a:custGeom>
            <a:avLst/>
            <a:gdLst>
              <a:gd name="connsiteX0" fmla="*/ 0 w 6506360"/>
              <a:gd name="connsiteY0" fmla="*/ 0 h 6858000"/>
              <a:gd name="connsiteX1" fmla="*/ 6506360 w 6506360"/>
              <a:gd name="connsiteY1" fmla="*/ 0 h 6858000"/>
              <a:gd name="connsiteX2" fmla="*/ 6506360 w 6506360"/>
              <a:gd name="connsiteY2" fmla="*/ 6858000 h 6858000"/>
              <a:gd name="connsiteX3" fmla="*/ 816590 w 6506360"/>
              <a:gd name="connsiteY3" fmla="*/ 6858000 h 6858000"/>
              <a:gd name="connsiteX4" fmla="*/ 816590 w 6506360"/>
              <a:gd name="connsiteY4" fmla="*/ 939979 h 6858000"/>
              <a:gd name="connsiteX5" fmla="*/ 57657 w 6506360"/>
              <a:gd name="connsiteY5" fmla="*/ 8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06360" h="6858000">
                <a:moveTo>
                  <a:pt x="0" y="0"/>
                </a:moveTo>
                <a:lnTo>
                  <a:pt x="6506360" y="0"/>
                </a:lnTo>
                <a:lnTo>
                  <a:pt x="6506360" y="6858000"/>
                </a:lnTo>
                <a:lnTo>
                  <a:pt x="816590" y="6858000"/>
                </a:lnTo>
                <a:lnTo>
                  <a:pt x="816590" y="939979"/>
                </a:lnTo>
                <a:cubicBezTo>
                  <a:pt x="816590" y="480656"/>
                  <a:pt x="490779" y="97429"/>
                  <a:pt x="57657" y="880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7DCA613B-D18E-594C-9579-2E40707B7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643128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E2F4BDEF-FEFC-0BDD-3EB4-7710855ED6AB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515937" y="1329378"/>
            <a:ext cx="5580062" cy="4637076"/>
          </a:xfrm>
        </p:spPr>
        <p:txBody>
          <a:bodyPr numCol="1" spcCol="180000" anchor="t">
            <a:noAutofit/>
          </a:bodyPr>
          <a:lstStyle>
            <a:lvl1pPr marL="0" indent="0">
              <a:lnSpc>
                <a:spcPct val="100000"/>
              </a:lnSpc>
              <a:spcAft>
                <a:spcPts val="1800"/>
              </a:spcAft>
              <a:buClr>
                <a:schemeClr val="bg2"/>
              </a:buClr>
              <a:buFont typeface="Arial" panose="020B0604020202020204" pitchFamily="34" charset="0"/>
              <a:buNone/>
              <a:defRPr sz="2800" b="1">
                <a:solidFill>
                  <a:schemeClr val="accent4"/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D7D9C6B7-7323-827F-E01F-2EFDCE7214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38345614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s + Images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8" y="4360961"/>
            <a:ext cx="5234437" cy="1538516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8" y="3915591"/>
            <a:ext cx="5234437" cy="281103"/>
          </a:xfrm>
        </p:spPr>
        <p:txBody>
          <a:bodyPr wrap="square"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A5AC520F-8595-0F44-99A9-F0873ACA4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41625" y="4360961"/>
            <a:ext cx="5234437" cy="1538516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41625" y="3915591"/>
            <a:ext cx="5234437" cy="281103"/>
          </a:xfrm>
        </p:spPr>
        <p:txBody>
          <a:bodyPr wrap="square"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4EF54ED7-3E2F-C8F7-553C-1DB155F7DBD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15938" y="1304924"/>
            <a:ext cx="5234438" cy="2400167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BCF59FD3-6B56-67EF-C1E8-78C92005D9A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441625" y="1304924"/>
            <a:ext cx="5234438" cy="2400167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298122001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s + Image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9" y="3726649"/>
            <a:ext cx="3287436" cy="2121010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3281279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A5AC520F-8595-0F44-99A9-F0873ACA4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2282" y="3726649"/>
            <a:ext cx="3287436" cy="2121010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52282" y="3281279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AD30B9DC-1666-7446-9DFD-F674A273B4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82846" y="3733177"/>
            <a:ext cx="3287436" cy="2121010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C7816D18-C579-DE44-B3B4-5D3819813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846" y="3287807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4EF54ED7-3E2F-C8F7-553C-1DB155F7DBD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15938" y="1304925"/>
            <a:ext cx="3287437" cy="1826421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BCF59FD3-6B56-67EF-C1E8-78C92005D9A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452281" y="1304925"/>
            <a:ext cx="3287437" cy="1826421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AA59D731-0D13-EB6C-7B10-1B59D3D8C5AA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388626" y="1304925"/>
            <a:ext cx="3287437" cy="1826421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354643749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4050217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52282" y="4050217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C7816D18-C579-DE44-B3B4-5D3819813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846" y="4056745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B0250E06-295E-B6E6-95C4-089EF7886C7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39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1638B5E-8DB0-EAFF-0CF3-8812AF05A9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49392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248EBF9A-10A9-92FA-05B2-3A952388340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82846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D2E71522-4C4D-EAC4-2A71-F45B1F18D569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5"/>
            <a:ext cx="11144930" cy="1369692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92311672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s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62" name="Title Placeholder 1">
            <a:extLst>
              <a:ext uri="{FF2B5EF4-FFF2-40B4-BE49-F238E27FC236}">
                <a16:creationId xmlns:a16="http://schemas.microsoft.com/office/drawing/2014/main" id="{14F0825D-90B8-6120-7F14-9DC0960BC9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63" name="Text Placeholder 6">
            <a:extLst>
              <a:ext uri="{FF2B5EF4-FFF2-40B4-BE49-F238E27FC236}">
                <a16:creationId xmlns:a16="http://schemas.microsoft.com/office/drawing/2014/main" id="{AF40E274-F0AF-0436-1F33-86E04DCC0DA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39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DB2C3DC3-9DBF-095B-1AEB-4513EE50C647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1566849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5" name="Text Placeholder 6">
            <a:extLst>
              <a:ext uri="{FF2B5EF4-FFF2-40B4-BE49-F238E27FC236}">
                <a16:creationId xmlns:a16="http://schemas.microsoft.com/office/drawing/2014/main" id="{EBBD32EE-C0FF-E8CB-43E3-315A609AEFE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6" name="Text Placeholder 6">
            <a:extLst>
              <a:ext uri="{FF2B5EF4-FFF2-40B4-BE49-F238E27FC236}">
                <a16:creationId xmlns:a16="http://schemas.microsoft.com/office/drawing/2014/main" id="{9E2EB64B-500A-8201-8F3F-287FDE60FB1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0268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7" name="Text Placeholder 6">
            <a:extLst>
              <a:ext uri="{FF2B5EF4-FFF2-40B4-BE49-F238E27FC236}">
                <a16:creationId xmlns:a16="http://schemas.microsoft.com/office/drawing/2014/main" id="{709BC01A-3AFB-CE31-0E4A-EE885FE2D5A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8943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8" name="Text Placeholder 6">
            <a:extLst>
              <a:ext uri="{FF2B5EF4-FFF2-40B4-BE49-F238E27FC236}">
                <a16:creationId xmlns:a16="http://schemas.microsoft.com/office/drawing/2014/main" id="{CD03EE5B-6B86-7B77-E541-93CE0511523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37618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9" name="Text Placeholder 6">
            <a:extLst>
              <a:ext uri="{FF2B5EF4-FFF2-40B4-BE49-F238E27FC236}">
                <a16:creationId xmlns:a16="http://schemas.microsoft.com/office/drawing/2014/main" id="{F9CB884D-6999-7DC7-1825-FC60BEC935BD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662940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0" name="Text Placeholder 6">
            <a:extLst>
              <a:ext uri="{FF2B5EF4-FFF2-40B4-BE49-F238E27FC236}">
                <a16:creationId xmlns:a16="http://schemas.microsoft.com/office/drawing/2014/main" id="{F03D69DA-4061-E20B-1262-8A9F09B92D2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790107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71" name="Text Placeholder 6">
            <a:extLst>
              <a:ext uri="{FF2B5EF4-FFF2-40B4-BE49-F238E27FC236}">
                <a16:creationId xmlns:a16="http://schemas.microsoft.com/office/drawing/2014/main" id="{4DA3F266-6EB8-18CF-146E-FCE0EE2BCCE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064275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72" name="Text Placeholder 6">
            <a:extLst>
              <a:ext uri="{FF2B5EF4-FFF2-40B4-BE49-F238E27FC236}">
                <a16:creationId xmlns:a16="http://schemas.microsoft.com/office/drawing/2014/main" id="{ABAC94EC-4D3A-CEAC-3763-AE5EBA84295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376189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73" name="Text Placeholder 6">
            <a:extLst>
              <a:ext uri="{FF2B5EF4-FFF2-40B4-BE49-F238E27FC236}">
                <a16:creationId xmlns:a16="http://schemas.microsoft.com/office/drawing/2014/main" id="{CB8F9A8E-E04A-1CA2-A320-7A4AE6F70DD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662940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</p:spTree>
    <p:extLst>
      <p:ext uri="{BB962C8B-B14F-4D97-AF65-F5344CB8AC3E}">
        <p14:creationId xmlns:p14="http://schemas.microsoft.com/office/powerpoint/2010/main" val="361471758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Numbers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360000"/>
          <a:lstStyle>
            <a:lvl1pPr marL="457200" indent="-457200">
              <a:buClr>
                <a:schemeClr val="bg2"/>
              </a:buClr>
              <a:buFont typeface="+mj-lt"/>
              <a:buAutoNum type="arabicPeriod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8498330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/Milestones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id="{B7F29198-E920-459C-2862-C2C7FB6FEB6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545069581"/>
              </p:ext>
            </p:extLst>
          </p:nvPr>
        </p:nvGraphicFramePr>
        <p:xfrm>
          <a:off x="606585" y="2278196"/>
          <a:ext cx="11007608" cy="3618726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2751902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2751902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2751902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2751902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</a:tblGrid>
              <a:tr h="361872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78195"/>
            <a:ext cx="11036388" cy="45719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47D58FC1-83B9-3BAD-C3EF-06E8D5DE120F}"/>
              </a:ext>
            </a:extLst>
          </p:cNvPr>
          <p:cNvSpPr>
            <a:spLocks noChangeAspect="1"/>
          </p:cNvSpPr>
          <p:nvPr userDrawn="1"/>
        </p:nvSpPr>
        <p:spPr>
          <a:xfrm>
            <a:off x="3460438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9D582DFC-3D0D-D5F8-AA6B-5676C8C4B3BF}"/>
              </a:ext>
            </a:extLst>
          </p:cNvPr>
          <p:cNvSpPr>
            <a:spLocks noChangeAspect="1"/>
          </p:cNvSpPr>
          <p:nvPr userDrawn="1"/>
        </p:nvSpPr>
        <p:spPr>
          <a:xfrm>
            <a:off x="6227970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DF486150-9219-560A-8B4F-FB551F786E68}"/>
              </a:ext>
            </a:extLst>
          </p:cNvPr>
          <p:cNvSpPr>
            <a:spLocks noChangeAspect="1"/>
          </p:cNvSpPr>
          <p:nvPr userDrawn="1"/>
        </p:nvSpPr>
        <p:spPr>
          <a:xfrm>
            <a:off x="8985924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18875"/>
            <a:ext cx="2767426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5" name="Text Placeholder 71">
            <a:extLst>
              <a:ext uri="{FF2B5EF4-FFF2-40B4-BE49-F238E27FC236}">
                <a16:creationId xmlns:a16="http://schemas.microsoft.com/office/drawing/2014/main" id="{799F0539-8B24-4E4B-EF4C-121B551D8B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4603" y="1818875"/>
            <a:ext cx="2746295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6" name="Text Placeholder 71">
            <a:extLst>
              <a:ext uri="{FF2B5EF4-FFF2-40B4-BE49-F238E27FC236}">
                <a16:creationId xmlns:a16="http://schemas.microsoft.com/office/drawing/2014/main" id="{9DFB2CE5-A177-E72D-3CD4-2646E4DCE50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00141" y="1818875"/>
            <a:ext cx="2745959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7" name="Text Placeholder 71">
            <a:extLst>
              <a:ext uri="{FF2B5EF4-FFF2-40B4-BE49-F238E27FC236}">
                <a16:creationId xmlns:a16="http://schemas.microsoft.com/office/drawing/2014/main" id="{7A262EC1-F639-E81C-3343-3DA348DA926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46100" y="1818875"/>
            <a:ext cx="2773719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0FE60C61-D20F-0DE2-38DC-62D2FAD3847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6471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7F661011-0524-7D80-F0B1-7EB66B450AD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361059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4">
            <a:extLst>
              <a:ext uri="{FF2B5EF4-FFF2-40B4-BE49-F238E27FC236}">
                <a16:creationId xmlns:a16="http://schemas.microsoft.com/office/drawing/2014/main" id="{5F501377-4DE1-C96B-B5CB-4675C424B7F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100140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Text Placeholder 4">
            <a:extLst>
              <a:ext uri="{FF2B5EF4-FFF2-40B4-BE49-F238E27FC236}">
                <a16:creationId xmlns:a16="http://schemas.microsoft.com/office/drawing/2014/main" id="{71120A03-3A4D-1301-C17A-86C4C160588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848429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4422680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/Milestones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id="{B7F29198-E920-459C-2862-C2C7FB6FEB6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495489908"/>
              </p:ext>
            </p:extLst>
          </p:nvPr>
        </p:nvGraphicFramePr>
        <p:xfrm>
          <a:off x="606585" y="2265316"/>
          <a:ext cx="11007610" cy="3618719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2201522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2456329606"/>
                    </a:ext>
                  </a:extLst>
                </a:gridCol>
              </a:tblGrid>
              <a:tr h="3618719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65316"/>
            <a:ext cx="11042014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47D58FC1-83B9-3BAD-C3EF-06E8D5DE120F}"/>
              </a:ext>
            </a:extLst>
          </p:cNvPr>
          <p:cNvSpPr>
            <a:spLocks noChangeAspect="1"/>
          </p:cNvSpPr>
          <p:nvPr userDrawn="1"/>
        </p:nvSpPr>
        <p:spPr>
          <a:xfrm>
            <a:off x="2892295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05995"/>
            <a:ext cx="2217229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5" name="Text Placeholder 71">
            <a:extLst>
              <a:ext uri="{FF2B5EF4-FFF2-40B4-BE49-F238E27FC236}">
                <a16:creationId xmlns:a16="http://schemas.microsoft.com/office/drawing/2014/main" id="{799F0539-8B24-4E4B-EF4C-121B551D8B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89882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0FE60C61-D20F-0DE2-38DC-62D2FAD3847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6471" y="2567720"/>
            <a:ext cx="2193481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7F661011-0524-7D80-F0B1-7EB66B450AD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806338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52428D8F-1413-2F6F-66F0-EA64E72C6F19}"/>
              </a:ext>
            </a:extLst>
          </p:cNvPr>
          <p:cNvSpPr>
            <a:spLocks noChangeAspect="1"/>
          </p:cNvSpPr>
          <p:nvPr userDrawn="1"/>
        </p:nvSpPr>
        <p:spPr>
          <a:xfrm>
            <a:off x="5108619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 Placeholder 71">
            <a:extLst>
              <a:ext uri="{FF2B5EF4-FFF2-40B4-BE49-F238E27FC236}">
                <a16:creationId xmlns:a16="http://schemas.microsoft.com/office/drawing/2014/main" id="{ED2B6425-619B-AFAF-1CF5-12D51DA095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06206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42048595-A0EA-7BB4-A2D8-622DB0779CAC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22662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E31A4FAF-CCB7-1F56-BEE2-622CF1A54FAB}"/>
              </a:ext>
            </a:extLst>
          </p:cNvPr>
          <p:cNvSpPr>
            <a:spLocks noChangeAspect="1"/>
          </p:cNvSpPr>
          <p:nvPr userDrawn="1"/>
        </p:nvSpPr>
        <p:spPr>
          <a:xfrm>
            <a:off x="7304231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 Placeholder 71">
            <a:extLst>
              <a:ext uri="{FF2B5EF4-FFF2-40B4-BE49-F238E27FC236}">
                <a16:creationId xmlns:a16="http://schemas.microsoft.com/office/drawing/2014/main" id="{AD33553F-FF2E-A084-58B1-CABD32043C6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01818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E55650A2-C067-405B-1B74-AC970B406C5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218274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965D2802-7493-9694-05E4-80CC2EF9B231}"/>
              </a:ext>
            </a:extLst>
          </p:cNvPr>
          <p:cNvSpPr>
            <a:spLocks noChangeAspect="1"/>
          </p:cNvSpPr>
          <p:nvPr userDrawn="1"/>
        </p:nvSpPr>
        <p:spPr>
          <a:xfrm>
            <a:off x="9512554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 Placeholder 71">
            <a:extLst>
              <a:ext uri="{FF2B5EF4-FFF2-40B4-BE49-F238E27FC236}">
                <a16:creationId xmlns:a16="http://schemas.microsoft.com/office/drawing/2014/main" id="{71110D7A-CD1D-2C97-57A0-9A17C8D3134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410141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4E1F3181-D3F3-3AA6-E3A7-A60D86BCE4F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426597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59929905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/Milestones x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id="{B7F29198-E920-459C-2862-C2C7FB6FEB6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220648469"/>
              </p:ext>
            </p:extLst>
          </p:nvPr>
        </p:nvGraphicFramePr>
        <p:xfrm>
          <a:off x="577178" y="2265316"/>
          <a:ext cx="11007612" cy="3618719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1834602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2456329606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2168740535"/>
                    </a:ext>
                  </a:extLst>
                </a:gridCol>
              </a:tblGrid>
              <a:tr h="3618719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65315"/>
            <a:ext cx="11006985" cy="45719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0FE60C61-D20F-0DE2-38DC-62D2FAD3847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7178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178D6D93-FD32-F6AE-2A57-61C348C02B3E}"/>
              </a:ext>
            </a:extLst>
          </p:cNvPr>
          <p:cNvSpPr>
            <a:spLocks noChangeAspect="1"/>
          </p:cNvSpPr>
          <p:nvPr userDrawn="1"/>
        </p:nvSpPr>
        <p:spPr>
          <a:xfrm>
            <a:off x="2515019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Text Placeholder 71">
            <a:extLst>
              <a:ext uri="{FF2B5EF4-FFF2-40B4-BE49-F238E27FC236}">
                <a16:creationId xmlns:a16="http://schemas.microsoft.com/office/drawing/2014/main" id="{21AE5853-8A99-8A93-1D01-2F7FCE23E3D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411179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64" name="Text Placeholder 4">
            <a:extLst>
              <a:ext uri="{FF2B5EF4-FFF2-40B4-BE49-F238E27FC236}">
                <a16:creationId xmlns:a16="http://schemas.microsoft.com/office/drawing/2014/main" id="{1AA430BA-739B-1F40-97FF-53B14467EF8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411180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DC0E5BE5-8378-48E2-C8D1-F22E49536780}"/>
              </a:ext>
            </a:extLst>
          </p:cNvPr>
          <p:cNvSpPr>
            <a:spLocks noChangeAspect="1"/>
          </p:cNvSpPr>
          <p:nvPr userDrawn="1"/>
        </p:nvSpPr>
        <p:spPr>
          <a:xfrm>
            <a:off x="4364033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Text Placeholder 71">
            <a:extLst>
              <a:ext uri="{FF2B5EF4-FFF2-40B4-BE49-F238E27FC236}">
                <a16:creationId xmlns:a16="http://schemas.microsoft.com/office/drawing/2014/main" id="{DDCEF4C9-0B45-4A5E-2D03-31D3672575C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60193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67" name="Text Placeholder 4">
            <a:extLst>
              <a:ext uri="{FF2B5EF4-FFF2-40B4-BE49-F238E27FC236}">
                <a16:creationId xmlns:a16="http://schemas.microsoft.com/office/drawing/2014/main" id="{B994265A-DDDF-4B03-8D82-FB42EFBCBCE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260194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0F31CF81-312F-837D-5714-92C7014354C5}"/>
              </a:ext>
            </a:extLst>
          </p:cNvPr>
          <p:cNvSpPr>
            <a:spLocks noChangeAspect="1"/>
          </p:cNvSpPr>
          <p:nvPr userDrawn="1"/>
        </p:nvSpPr>
        <p:spPr>
          <a:xfrm>
            <a:off x="6199839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Text Placeholder 71">
            <a:extLst>
              <a:ext uri="{FF2B5EF4-FFF2-40B4-BE49-F238E27FC236}">
                <a16:creationId xmlns:a16="http://schemas.microsoft.com/office/drawing/2014/main" id="{62AEAA69-3020-A0FF-5608-7AFD7A5D29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095999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0" name="Text Placeholder 4">
            <a:extLst>
              <a:ext uri="{FF2B5EF4-FFF2-40B4-BE49-F238E27FC236}">
                <a16:creationId xmlns:a16="http://schemas.microsoft.com/office/drawing/2014/main" id="{79626162-0EE9-3BA8-0CDF-67028FE32F18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096000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D4AB8F32-B492-2CD9-826C-E5C5378592C9}"/>
              </a:ext>
            </a:extLst>
          </p:cNvPr>
          <p:cNvSpPr>
            <a:spLocks noChangeAspect="1"/>
          </p:cNvSpPr>
          <p:nvPr userDrawn="1"/>
        </p:nvSpPr>
        <p:spPr>
          <a:xfrm>
            <a:off x="8035644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3F1D7A91-7111-6E5C-279C-1B1D9695082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931804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3" name="Text Placeholder 4">
            <a:extLst>
              <a:ext uri="{FF2B5EF4-FFF2-40B4-BE49-F238E27FC236}">
                <a16:creationId xmlns:a16="http://schemas.microsoft.com/office/drawing/2014/main" id="{0E2562B9-545B-AF00-D9F9-44E167A11B93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7931805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A45C6367-A74F-1C2C-672E-F2E6078D3C68}"/>
              </a:ext>
            </a:extLst>
          </p:cNvPr>
          <p:cNvSpPr>
            <a:spLocks noChangeAspect="1"/>
          </p:cNvSpPr>
          <p:nvPr userDrawn="1"/>
        </p:nvSpPr>
        <p:spPr>
          <a:xfrm>
            <a:off x="9847196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Text Placeholder 71">
            <a:extLst>
              <a:ext uri="{FF2B5EF4-FFF2-40B4-BE49-F238E27FC236}">
                <a16:creationId xmlns:a16="http://schemas.microsoft.com/office/drawing/2014/main" id="{5865903F-F98B-94C0-7563-3A297E41DA2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743356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6" name="Text Placeholder 4">
            <a:extLst>
              <a:ext uri="{FF2B5EF4-FFF2-40B4-BE49-F238E27FC236}">
                <a16:creationId xmlns:a16="http://schemas.microsoft.com/office/drawing/2014/main" id="{CAB912CE-814A-19EE-2402-D55C72FA588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743357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34960353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nual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Table 29">
            <a:extLst>
              <a:ext uri="{FF2B5EF4-FFF2-40B4-BE49-F238E27FC236}">
                <a16:creationId xmlns:a16="http://schemas.microsoft.com/office/drawing/2014/main" id="{803BAA2C-9254-B18D-A058-251E52C66E89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106880639"/>
              </p:ext>
            </p:extLst>
          </p:nvPr>
        </p:nvGraphicFramePr>
        <p:xfrm>
          <a:off x="606585" y="2278196"/>
          <a:ext cx="11007612" cy="3618726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917301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227914870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386396939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1442862435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496167856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936398145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3251811526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298212362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1474312375"/>
                    </a:ext>
                  </a:extLst>
                </a:gridCol>
              </a:tblGrid>
              <a:tr h="361872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78195"/>
            <a:ext cx="11036388" cy="45719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tx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47D58FC1-83B9-3BAD-C3EF-06E8D5DE120F}"/>
              </a:ext>
            </a:extLst>
          </p:cNvPr>
          <p:cNvSpPr>
            <a:spLocks noChangeAspect="1"/>
          </p:cNvSpPr>
          <p:nvPr userDrawn="1"/>
        </p:nvSpPr>
        <p:spPr>
          <a:xfrm>
            <a:off x="3460438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9D582DFC-3D0D-D5F8-AA6B-5676C8C4B3BF}"/>
              </a:ext>
            </a:extLst>
          </p:cNvPr>
          <p:cNvSpPr>
            <a:spLocks noChangeAspect="1"/>
          </p:cNvSpPr>
          <p:nvPr userDrawn="1"/>
        </p:nvSpPr>
        <p:spPr>
          <a:xfrm>
            <a:off x="6227970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DF486150-9219-560A-8B4F-FB551F786E68}"/>
              </a:ext>
            </a:extLst>
          </p:cNvPr>
          <p:cNvSpPr>
            <a:spLocks noChangeAspect="1"/>
          </p:cNvSpPr>
          <p:nvPr userDrawn="1"/>
        </p:nvSpPr>
        <p:spPr>
          <a:xfrm>
            <a:off x="8985924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18875"/>
            <a:ext cx="2767426" cy="300442"/>
          </a:xfrm>
        </p:spPr>
        <p:txBody>
          <a:bodyPr lIns="108000" rIns="288000" anchor="b" anchorCtr="0">
            <a:noAutofit/>
          </a:bodyPr>
          <a:lstStyle>
            <a:lvl1pPr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55" name="Text Placeholder 71">
            <a:extLst>
              <a:ext uri="{FF2B5EF4-FFF2-40B4-BE49-F238E27FC236}">
                <a16:creationId xmlns:a16="http://schemas.microsoft.com/office/drawing/2014/main" id="{799F0539-8B24-4E4B-EF4C-121B551D8B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4603" y="1818875"/>
            <a:ext cx="2746295" cy="300442"/>
          </a:xfrm>
        </p:spPr>
        <p:txBody>
          <a:bodyPr lIns="108000" rIns="288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56" name="Text Placeholder 71">
            <a:extLst>
              <a:ext uri="{FF2B5EF4-FFF2-40B4-BE49-F238E27FC236}">
                <a16:creationId xmlns:a16="http://schemas.microsoft.com/office/drawing/2014/main" id="{9DFB2CE5-A177-E72D-3CD4-2646E4DCE50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00141" y="1818875"/>
            <a:ext cx="2745959" cy="300442"/>
          </a:xfrm>
        </p:spPr>
        <p:txBody>
          <a:bodyPr lIns="108000" rIns="288000" anchor="b" anchorCtr="0">
            <a:noAutofit/>
          </a:bodyPr>
          <a:lstStyle>
            <a:lvl1pPr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57" name="Text Placeholder 71">
            <a:extLst>
              <a:ext uri="{FF2B5EF4-FFF2-40B4-BE49-F238E27FC236}">
                <a16:creationId xmlns:a16="http://schemas.microsoft.com/office/drawing/2014/main" id="{7A262EC1-F639-E81C-3343-3DA348DA926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46100" y="1818875"/>
            <a:ext cx="2773719" cy="300442"/>
          </a:xfrm>
        </p:spPr>
        <p:txBody>
          <a:bodyPr lIns="108000" rIns="288000" anchor="b" anchorCtr="0">
            <a:noAutofit/>
          </a:bodyPr>
          <a:lstStyle>
            <a:lvl1pPr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3031F97C-D610-4D45-F78B-D175D9A0E755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485839" y="2583275"/>
            <a:ext cx="8012329" cy="380567"/>
          </a:xfrm>
          <a:prstGeom prst="roundRect">
            <a:avLst>
              <a:gd name="adj" fmla="val 50000"/>
            </a:avLst>
          </a:prstGeom>
          <a:solidFill>
            <a:srgbClr val="E6E6E6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1FF72A2C-EC93-1960-E000-9D1BE3C473D1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718374" y="2588233"/>
            <a:ext cx="2451893" cy="380567"/>
          </a:xfrm>
          <a:prstGeom prst="roundRect">
            <a:avLst>
              <a:gd name="adj" fmla="val 50000"/>
            </a:avLst>
          </a:prstGeom>
          <a:solidFill>
            <a:schemeClr val="bg2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7B3311CB-DC37-BF2B-8E33-872990686A6F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020770" y="3112528"/>
            <a:ext cx="2477398" cy="380567"/>
          </a:xfrm>
          <a:prstGeom prst="roundRect">
            <a:avLst>
              <a:gd name="adj" fmla="val 50000"/>
            </a:avLst>
          </a:prstGeom>
          <a:solidFill>
            <a:schemeClr val="bg2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4C6A5BFA-3D10-182C-1A20-2F9F25DA5EC7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718374" y="3112528"/>
            <a:ext cx="8012329" cy="380567"/>
          </a:xfrm>
          <a:prstGeom prst="roundRect">
            <a:avLst>
              <a:gd name="adj" fmla="val 50000"/>
            </a:avLst>
          </a:prstGeom>
          <a:solidFill>
            <a:srgbClr val="E6E6E6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63D306BC-6AA0-5B15-EAD0-1C4B6C007AE2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718374" y="3636823"/>
            <a:ext cx="10779794" cy="380567"/>
          </a:xfrm>
          <a:prstGeom prst="roundRect">
            <a:avLst>
              <a:gd name="adj" fmla="val 50000"/>
            </a:avLst>
          </a:prstGeom>
          <a:solidFill>
            <a:schemeClr val="tx2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2F279148-11D1-D193-7504-E15A8DBBB7ED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1947773" y="4161117"/>
            <a:ext cx="9537643" cy="380567"/>
          </a:xfrm>
          <a:prstGeom prst="roundRect">
            <a:avLst>
              <a:gd name="adj" fmla="val 50000"/>
            </a:avLst>
          </a:prstGeom>
          <a:solidFill>
            <a:srgbClr val="E6E6E6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B7F7FC01-6091-5D90-D333-FA5671F43B8E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7492654" y="4685411"/>
            <a:ext cx="3986410" cy="380567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4934734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645879FE-583A-DE44-88BA-EB276A69E0F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5"/>
            <a:ext cx="11144930" cy="592778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29D7B8B-35CA-A145-A474-98CA941C8914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515938" y="2081213"/>
            <a:ext cx="11153775" cy="3832225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994254471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D54A1155-34EB-A04A-AA96-8DCEA2A0B8AF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515938" y="1304925"/>
            <a:ext cx="11160125" cy="4608513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</p:spTree>
    <p:extLst>
      <p:ext uri="{BB962C8B-B14F-4D97-AF65-F5344CB8AC3E}">
        <p14:creationId xmlns:p14="http://schemas.microsoft.com/office/powerpoint/2010/main" val="3971123644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+ Intr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D54A1155-34EB-A04A-AA96-8DCEA2A0B8AF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515938" y="2186941"/>
            <a:ext cx="11160125" cy="3726497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0B67ED7-707C-628A-DD8C-8D05275A882F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531133" y="1304924"/>
            <a:ext cx="11144930" cy="760095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80305831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5F41B758-C970-D84A-B3ED-8A3CB892A83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762750" y="366371"/>
            <a:ext cx="4913313" cy="5547067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</p:spTree>
    <p:extLst>
      <p:ext uri="{BB962C8B-B14F-4D97-AF65-F5344CB8AC3E}">
        <p14:creationId xmlns:p14="http://schemas.microsoft.com/office/powerpoint/2010/main" val="2345763874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Graph + Key 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2951067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5F41B758-C970-D84A-B3ED-8A3CB892A83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762750" y="366371"/>
            <a:ext cx="4913313" cy="5547067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  <p:sp>
        <p:nvSpPr>
          <p:cNvPr id="12" name="Table Placeholder 13">
            <a:extLst>
              <a:ext uri="{FF2B5EF4-FFF2-40B4-BE49-F238E27FC236}">
                <a16:creationId xmlns:a16="http://schemas.microsoft.com/office/drawing/2014/main" id="{0471F0B8-12A0-7A45-8C7A-E02063FE5C87}"/>
              </a:ext>
            </a:extLst>
          </p:cNvPr>
          <p:cNvSpPr>
            <a:spLocks noGrp="1"/>
          </p:cNvSpPr>
          <p:nvPr>
            <p:ph type="tbl" sz="quarter" idx="16" hasCustomPrompt="1"/>
          </p:nvPr>
        </p:nvSpPr>
        <p:spPr>
          <a:xfrm>
            <a:off x="531813" y="4531663"/>
            <a:ext cx="5564187" cy="1381775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here to insert table of key statistics</a:t>
            </a:r>
          </a:p>
        </p:txBody>
      </p:sp>
    </p:spTree>
    <p:extLst>
      <p:ext uri="{BB962C8B-B14F-4D97-AF65-F5344CB8AC3E}">
        <p14:creationId xmlns:p14="http://schemas.microsoft.com/office/powerpoint/2010/main" val="2590267783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F7144900-27CB-F8C8-8750-EBFD50556D3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5937" y="1738603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BA371966-686F-3873-1B61-8D4F2F1781A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409056" y="1738603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71BA048F-6972-4609-34F2-EF8FDBBDBB0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34278" y="1915486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224FF60B-6BD0-9B1E-2959-11D6263640A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15937" y="3998564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2DB6CCCB-718D-70C8-7A09-2EE0D7144525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409056" y="3998564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6878B28-F503-455B-0FEA-80DE7090542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34278" y="4175447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AAADD6C4-F1D9-F92B-C5FD-4B4DA8B17CF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2333196" y="1915486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A5E09E69-6CAD-B355-9823-320AB8FAE66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333196" y="4175447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2981374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ections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3534" y="1319651"/>
            <a:ext cx="5358213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867F760-C803-3AA5-7534-42750FD6DB15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2" y="1708830"/>
            <a:ext cx="5343019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87E7DAA2-4D74-8F73-20DD-AB5A220C5D1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17851" y="1319651"/>
            <a:ext cx="5358213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1E0345EA-841F-0CDC-4D3D-6F8A441AA78F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6333045" y="1708830"/>
            <a:ext cx="5343019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6425783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x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Picture Placeholder 9">
            <a:extLst>
              <a:ext uri="{FF2B5EF4-FFF2-40B4-BE49-F238E27FC236}">
                <a16:creationId xmlns:a16="http://schemas.microsoft.com/office/drawing/2014/main" id="{9DD9632F-ADC6-0F07-8F3F-62F1AF846E1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5938" y="1711994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A6BDD17B-1F38-C02C-FBE9-A0D8E16AB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99411" y="1711994"/>
            <a:ext cx="2116757" cy="987159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4" name="Picture Placeholder 9">
            <a:extLst>
              <a:ext uri="{FF2B5EF4-FFF2-40B4-BE49-F238E27FC236}">
                <a16:creationId xmlns:a16="http://schemas.microsoft.com/office/drawing/2014/main" id="{25EC710C-2932-CFFF-F55D-955597F0FB3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335796" y="1711994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247CB122-DF3E-CDA7-027B-26E525434AE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527232" y="1711994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Picture Placeholder 9">
            <a:extLst>
              <a:ext uri="{FF2B5EF4-FFF2-40B4-BE49-F238E27FC236}">
                <a16:creationId xmlns:a16="http://schemas.microsoft.com/office/drawing/2014/main" id="{27971BF0-784D-F3CF-2C6F-CA518054204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220024" y="1711994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1" name="Text Placeholder 15">
            <a:extLst>
              <a:ext uri="{FF2B5EF4-FFF2-40B4-BE49-F238E27FC236}">
                <a16:creationId xmlns:a16="http://schemas.microsoft.com/office/drawing/2014/main" id="{0B2CA69D-267F-C90D-4248-B4C35F26DF7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411460" y="1711994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2" name="Picture Placeholder 9">
            <a:extLst>
              <a:ext uri="{FF2B5EF4-FFF2-40B4-BE49-F238E27FC236}">
                <a16:creationId xmlns:a16="http://schemas.microsoft.com/office/drawing/2014/main" id="{5897A2C1-9865-7BB8-2197-358370EFD4AC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15938" y="3155667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3" name="Text Placeholder 15">
            <a:extLst>
              <a:ext uri="{FF2B5EF4-FFF2-40B4-BE49-F238E27FC236}">
                <a16:creationId xmlns:a16="http://schemas.microsoft.com/office/drawing/2014/main" id="{62920B1E-EBA9-626D-6305-A1ADAE904D1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699411" y="3155667"/>
            <a:ext cx="2116757" cy="987159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4" name="Picture Placeholder 9">
            <a:extLst>
              <a:ext uri="{FF2B5EF4-FFF2-40B4-BE49-F238E27FC236}">
                <a16:creationId xmlns:a16="http://schemas.microsoft.com/office/drawing/2014/main" id="{544F1E77-8814-8A3B-D86A-076D4023ACA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335796" y="3155667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5" name="Text Placeholder 15">
            <a:extLst>
              <a:ext uri="{FF2B5EF4-FFF2-40B4-BE49-F238E27FC236}">
                <a16:creationId xmlns:a16="http://schemas.microsoft.com/office/drawing/2014/main" id="{C7619CC2-0DAA-26FC-AEAA-30394D48883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527232" y="3155667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6" name="Picture Placeholder 9">
            <a:extLst>
              <a:ext uri="{FF2B5EF4-FFF2-40B4-BE49-F238E27FC236}">
                <a16:creationId xmlns:a16="http://schemas.microsoft.com/office/drawing/2014/main" id="{8FAFCD1B-5A84-929A-D622-CC609C41B001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8220024" y="3155667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7" name="Text Placeholder 15">
            <a:extLst>
              <a:ext uri="{FF2B5EF4-FFF2-40B4-BE49-F238E27FC236}">
                <a16:creationId xmlns:a16="http://schemas.microsoft.com/office/drawing/2014/main" id="{32DEC219-4AAE-290C-5636-F2670570011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411460" y="3155667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8" name="Picture Placeholder 9">
            <a:extLst>
              <a:ext uri="{FF2B5EF4-FFF2-40B4-BE49-F238E27FC236}">
                <a16:creationId xmlns:a16="http://schemas.microsoft.com/office/drawing/2014/main" id="{B2CF404E-74E2-7F8B-678B-6E7F764D9BF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15938" y="4599456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9" name="Text Placeholder 15">
            <a:extLst>
              <a:ext uri="{FF2B5EF4-FFF2-40B4-BE49-F238E27FC236}">
                <a16:creationId xmlns:a16="http://schemas.microsoft.com/office/drawing/2014/main" id="{494146F5-9D36-2EF7-388E-A72B6DA0D9B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699411" y="4599456"/>
            <a:ext cx="2116757" cy="987159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Picture Placeholder 9">
            <a:extLst>
              <a:ext uri="{FF2B5EF4-FFF2-40B4-BE49-F238E27FC236}">
                <a16:creationId xmlns:a16="http://schemas.microsoft.com/office/drawing/2014/main" id="{B71BEAAD-C8C5-6988-5CBE-F7E30241059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4335796" y="4599456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1" name="Text Placeholder 15">
            <a:extLst>
              <a:ext uri="{FF2B5EF4-FFF2-40B4-BE49-F238E27FC236}">
                <a16:creationId xmlns:a16="http://schemas.microsoft.com/office/drawing/2014/main" id="{138E6919-019E-02BB-5D0D-FF9C12142411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27232" y="4599456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Picture Placeholder 9">
            <a:extLst>
              <a:ext uri="{FF2B5EF4-FFF2-40B4-BE49-F238E27FC236}">
                <a16:creationId xmlns:a16="http://schemas.microsoft.com/office/drawing/2014/main" id="{50AEE6D7-E551-8465-B986-00D61EB9730A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8220024" y="4599456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3" name="Text Placeholder 15">
            <a:extLst>
              <a:ext uri="{FF2B5EF4-FFF2-40B4-BE49-F238E27FC236}">
                <a16:creationId xmlns:a16="http://schemas.microsoft.com/office/drawing/2014/main" id="{EABA07AD-B083-3DC8-2E9C-6607785D0D9F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411460" y="4599456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4173249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x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Picture Placeholder 9">
            <a:extLst>
              <a:ext uri="{FF2B5EF4-FFF2-40B4-BE49-F238E27FC236}">
                <a16:creationId xmlns:a16="http://schemas.microsoft.com/office/drawing/2014/main" id="{9DD9632F-ADC6-0F07-8F3F-62F1AF846E1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5939" y="1711995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A6BDD17B-1F38-C02C-FBE9-A0D8E16AB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596367" y="1711995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9" name="Picture Placeholder 9">
            <a:extLst>
              <a:ext uri="{FF2B5EF4-FFF2-40B4-BE49-F238E27FC236}">
                <a16:creationId xmlns:a16="http://schemas.microsoft.com/office/drawing/2014/main" id="{0A36E1BF-5D7A-3667-C65B-2DB32E2BD388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515939" y="2786398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4" name="Text Placeholder 15">
            <a:extLst>
              <a:ext uri="{FF2B5EF4-FFF2-40B4-BE49-F238E27FC236}">
                <a16:creationId xmlns:a16="http://schemas.microsoft.com/office/drawing/2014/main" id="{A3EF6248-9648-B0CE-3E04-C8F8A63036EA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596367" y="2791091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Picture Placeholder 9">
            <a:extLst>
              <a:ext uri="{FF2B5EF4-FFF2-40B4-BE49-F238E27FC236}">
                <a16:creationId xmlns:a16="http://schemas.microsoft.com/office/drawing/2014/main" id="{C5444EBA-19D0-8678-BDDD-147CE44BC1E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515939" y="3870187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6" name="Text Placeholder 15">
            <a:extLst>
              <a:ext uri="{FF2B5EF4-FFF2-40B4-BE49-F238E27FC236}">
                <a16:creationId xmlns:a16="http://schemas.microsoft.com/office/drawing/2014/main" id="{7D5C4711-97F4-DDD0-D960-DEDF44E5F474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596367" y="3870187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7" name="Picture Placeholder 9">
            <a:extLst>
              <a:ext uri="{FF2B5EF4-FFF2-40B4-BE49-F238E27FC236}">
                <a16:creationId xmlns:a16="http://schemas.microsoft.com/office/drawing/2014/main" id="{E65DD9AF-BC5A-0D6D-203A-19C299826DFB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515939" y="4949284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8" name="Text Placeholder 15">
            <a:extLst>
              <a:ext uri="{FF2B5EF4-FFF2-40B4-BE49-F238E27FC236}">
                <a16:creationId xmlns:a16="http://schemas.microsoft.com/office/drawing/2014/main" id="{50F33994-9EA1-2A51-A537-50F4FB57B23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1596367" y="4949284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9" name="Picture Placeholder 9">
            <a:extLst>
              <a:ext uri="{FF2B5EF4-FFF2-40B4-BE49-F238E27FC236}">
                <a16:creationId xmlns:a16="http://schemas.microsoft.com/office/drawing/2014/main" id="{F4BC789A-02DE-1B25-C17D-56031BFFAC79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357530" y="1711995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0" name="Text Placeholder 15">
            <a:extLst>
              <a:ext uri="{FF2B5EF4-FFF2-40B4-BE49-F238E27FC236}">
                <a16:creationId xmlns:a16="http://schemas.microsoft.com/office/drawing/2014/main" id="{397D8B8C-1AD2-D2A1-C4BA-DC06F2B6EF69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5437958" y="1711995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1" name="Picture Placeholder 9">
            <a:extLst>
              <a:ext uri="{FF2B5EF4-FFF2-40B4-BE49-F238E27FC236}">
                <a16:creationId xmlns:a16="http://schemas.microsoft.com/office/drawing/2014/main" id="{96F24F90-0E84-D6E6-53DE-5CA754BCC220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4357530" y="2786398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2" name="Text Placeholder 15">
            <a:extLst>
              <a:ext uri="{FF2B5EF4-FFF2-40B4-BE49-F238E27FC236}">
                <a16:creationId xmlns:a16="http://schemas.microsoft.com/office/drawing/2014/main" id="{FEE53D37-03B9-FEA3-D9B3-377C5ACE8FBB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5437958" y="2791091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3" name="Picture Placeholder 9">
            <a:extLst>
              <a:ext uri="{FF2B5EF4-FFF2-40B4-BE49-F238E27FC236}">
                <a16:creationId xmlns:a16="http://schemas.microsoft.com/office/drawing/2014/main" id="{D91880C0-5866-3A2D-E9A1-293A080C3CBC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4357530" y="3870187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4" name="Text Placeholder 15">
            <a:extLst>
              <a:ext uri="{FF2B5EF4-FFF2-40B4-BE49-F238E27FC236}">
                <a16:creationId xmlns:a16="http://schemas.microsoft.com/office/drawing/2014/main" id="{68479F4A-C40B-C6DF-03E8-C507FF3D4573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5437958" y="3870187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5" name="Picture Placeholder 9">
            <a:extLst>
              <a:ext uri="{FF2B5EF4-FFF2-40B4-BE49-F238E27FC236}">
                <a16:creationId xmlns:a16="http://schemas.microsoft.com/office/drawing/2014/main" id="{C62DBBD6-D33E-DF74-5AE8-96D1913C8C20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4357530" y="4949284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6" name="Text Placeholder 15">
            <a:extLst>
              <a:ext uri="{FF2B5EF4-FFF2-40B4-BE49-F238E27FC236}">
                <a16:creationId xmlns:a16="http://schemas.microsoft.com/office/drawing/2014/main" id="{05529239-A4B5-258D-03F5-01D3ADFE8873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5437958" y="4949284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7" name="Picture Placeholder 9">
            <a:extLst>
              <a:ext uri="{FF2B5EF4-FFF2-40B4-BE49-F238E27FC236}">
                <a16:creationId xmlns:a16="http://schemas.microsoft.com/office/drawing/2014/main" id="{114AD459-859C-6C0F-FB75-4B02606E57BB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8199122" y="1711995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8" name="Text Placeholder 15">
            <a:extLst>
              <a:ext uri="{FF2B5EF4-FFF2-40B4-BE49-F238E27FC236}">
                <a16:creationId xmlns:a16="http://schemas.microsoft.com/office/drawing/2014/main" id="{4EAF0426-CCDA-221A-38EC-BBD417EBF569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9279550" y="1711995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9" name="Picture Placeholder 9">
            <a:extLst>
              <a:ext uri="{FF2B5EF4-FFF2-40B4-BE49-F238E27FC236}">
                <a16:creationId xmlns:a16="http://schemas.microsoft.com/office/drawing/2014/main" id="{EF2E7661-7F3A-851E-C60B-815DA8CE2A18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8199122" y="2786398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70" name="Text Placeholder 15">
            <a:extLst>
              <a:ext uri="{FF2B5EF4-FFF2-40B4-BE49-F238E27FC236}">
                <a16:creationId xmlns:a16="http://schemas.microsoft.com/office/drawing/2014/main" id="{8748A2D7-29EB-EEF8-E6A5-383DA278969D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9279550" y="2791091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1" name="Picture Placeholder 9">
            <a:extLst>
              <a:ext uri="{FF2B5EF4-FFF2-40B4-BE49-F238E27FC236}">
                <a16:creationId xmlns:a16="http://schemas.microsoft.com/office/drawing/2014/main" id="{E88761E4-7653-636A-0723-500AE4782BC6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8199122" y="3870187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72" name="Text Placeholder 15">
            <a:extLst>
              <a:ext uri="{FF2B5EF4-FFF2-40B4-BE49-F238E27FC236}">
                <a16:creationId xmlns:a16="http://schemas.microsoft.com/office/drawing/2014/main" id="{B10E2844-BD47-9C07-357D-9EA651BBCA67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9279550" y="3870187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3" name="Picture Placeholder 9">
            <a:extLst>
              <a:ext uri="{FF2B5EF4-FFF2-40B4-BE49-F238E27FC236}">
                <a16:creationId xmlns:a16="http://schemas.microsoft.com/office/drawing/2014/main" id="{310F2473-00CD-C33D-50C3-3F40271F3927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8199122" y="4949284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74" name="Text Placeholder 15">
            <a:extLst>
              <a:ext uri="{FF2B5EF4-FFF2-40B4-BE49-F238E27FC236}">
                <a16:creationId xmlns:a16="http://schemas.microsoft.com/office/drawing/2014/main" id="{789611C4-8E98-E2CF-35EB-922860C66E00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9279550" y="4949284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74767152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81187F35-DC43-A850-FE4F-7D60E8ED7A9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360000">
            <a:normAutofit/>
          </a:bodyPr>
          <a:lstStyle>
            <a:lvl1pPr marL="457200" indent="-457200">
              <a:spcBef>
                <a:spcPts val="1800"/>
              </a:spcBef>
              <a:spcAft>
                <a:spcPts val="600"/>
              </a:spcAft>
              <a:buClr>
                <a:schemeClr val="bg2"/>
              </a:buClr>
              <a:buFont typeface="+mj-lt"/>
              <a:buAutoNum type="arabicPeriod"/>
              <a:defRPr sz="2400" b="1">
                <a:solidFill>
                  <a:schemeClr val="tx2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2000" b="1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2000" b="1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800" b="1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1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749776029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6275323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6275323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81187F35-DC43-A850-FE4F-7D60E8ED7A9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5376371" cy="4204608"/>
          </a:xfrm>
        </p:spPr>
        <p:txBody>
          <a:bodyPr numCol="1" spcCol="360000">
            <a:normAutofit/>
          </a:bodyPr>
          <a:lstStyle>
            <a:lvl1pPr marL="457200" indent="-45720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+mj-lt"/>
              <a:buAutoNum type="arabicPeriod"/>
              <a:defRPr sz="2400" b="1">
                <a:solidFill>
                  <a:schemeClr val="tx2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2000" b="1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2000" b="1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800" b="1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1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1F8B0E5-465B-1592-BFB3-5F01C3B0E690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132637" y="1708830"/>
            <a:ext cx="664405" cy="4204608"/>
          </a:xfrm>
        </p:spPr>
        <p:txBody>
          <a:bodyPr numCol="1" spcCol="360000">
            <a:normAutofit/>
          </a:bodyPr>
          <a:lstStyle>
            <a:lvl1pPr marL="0" indent="0" algn="r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+mj-lt"/>
              <a:buNone/>
              <a:defRPr sz="2400" b="0">
                <a:solidFill>
                  <a:schemeClr val="tx2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2000" b="1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2000" b="1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800" b="1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1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X</a:t>
            </a:r>
          </a:p>
          <a:p>
            <a:pPr lvl="0"/>
            <a:endParaRPr lang="en-GB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EA8C7E29-42A4-2542-6547-ACCD8C92B2B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7368539" y="366371"/>
            <a:ext cx="4307523" cy="5530549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64535179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6863096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48021035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897140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– Dark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B746B08-255A-2748-8A21-40BE94A17FD1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3303384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Key Stat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9290FAF2-2869-2B9B-5880-4EE57045BC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828" y="1249683"/>
            <a:ext cx="11208352" cy="2690816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r>
              <a:rPr lang="en-GB"/>
              <a:t>XXXXXX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0F9BA01A-4636-2441-F8D0-2E265BF7D8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B746B08-255A-2748-8A21-40BE94A17FD1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C751308-8682-E296-A343-1719555B3C95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A1AFB23D-B299-93C8-2304-575B5ED936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pic>
        <p:nvPicPr>
          <p:cNvPr id="15" name="Picture 11">
            <a:extLst>
              <a:ext uri="{FF2B5EF4-FFF2-40B4-BE49-F238E27FC236}">
                <a16:creationId xmlns:a16="http://schemas.microsoft.com/office/drawing/2014/main" id="{A4BBC3E9-F3A2-C188-5A3A-9D714331C86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64AB32E5-85C1-B8E6-505F-2580C9B2E9E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6" y="4053840"/>
            <a:ext cx="6364924" cy="1668779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38074329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_b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isc_shape_footer">
            <a:extLst>
              <a:ext uri="{FF2B5EF4-FFF2-40B4-BE49-F238E27FC236}">
                <a16:creationId xmlns:a16="http://schemas.microsoft.com/office/drawing/2014/main" id="{664046CC-4730-4385-BFF7-6C30CFAF2474}"/>
              </a:ext>
            </a:extLst>
          </p:cNvPr>
          <p:cNvSpPr/>
          <p:nvPr userDrawn="1"/>
        </p:nvSpPr>
        <p:spPr>
          <a:xfrm>
            <a:off x="50796" y="6554738"/>
            <a:ext cx="12090405" cy="249380"/>
          </a:xfrm>
          <a:prstGeom prst="rect">
            <a:avLst/>
          </a:prstGeom>
          <a:gradFill>
            <a:gsLst>
              <a:gs pos="0">
                <a:srgbClr val="0070C0"/>
              </a:gs>
              <a:gs pos="24000">
                <a:schemeClr val="accent1"/>
              </a:gs>
              <a:gs pos="100000">
                <a:schemeClr val="accent2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3733">
              <a:solidFill>
                <a:schemeClr val="bg1"/>
              </a:solidFill>
            </a:endParaRPr>
          </a:p>
        </p:txBody>
      </p:sp>
      <p:cxnSp>
        <p:nvCxnSpPr>
          <p:cNvPr id="21" name="misc_shape_title">
            <a:extLst>
              <a:ext uri="{FF2B5EF4-FFF2-40B4-BE49-F238E27FC236}">
                <a16:creationId xmlns:a16="http://schemas.microsoft.com/office/drawing/2014/main" id="{F0DAAC94-B598-44C6-81CF-40451071ABC6}"/>
              </a:ext>
            </a:extLst>
          </p:cNvPr>
          <p:cNvCxnSpPr>
            <a:cxnSpLocks/>
          </p:cNvCxnSpPr>
          <p:nvPr userDrawn="1"/>
        </p:nvCxnSpPr>
        <p:spPr>
          <a:xfrm>
            <a:off x="237065" y="1"/>
            <a:ext cx="0" cy="981828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slide_title">
            <a:extLst>
              <a:ext uri="{FF2B5EF4-FFF2-40B4-BE49-F238E27FC236}">
                <a16:creationId xmlns:a16="http://schemas.microsoft.com/office/drawing/2014/main" id="{3FFB3FC9-8F95-4BB7-BC20-D04F74CC87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7567" y="0"/>
            <a:ext cx="11451167" cy="982133"/>
          </a:xfrm>
        </p:spPr>
        <p:txBody>
          <a:bodyPr/>
          <a:lstStyle>
            <a:lvl1pPr algn="l">
              <a:lnSpc>
                <a:spcPct val="100000"/>
              </a:lnSpc>
              <a:defRPr sz="3200"/>
            </a:lvl1pPr>
          </a:lstStyle>
          <a:p>
            <a:pPr lvl="0"/>
            <a:r>
              <a:rPr lang="en-US"/>
              <a:t>Slide Title</a:t>
            </a:r>
          </a:p>
        </p:txBody>
      </p:sp>
      <p:sp>
        <p:nvSpPr>
          <p:cNvPr id="26" name="text">
            <a:extLst>
              <a:ext uri="{FF2B5EF4-FFF2-40B4-BE49-F238E27FC236}">
                <a16:creationId xmlns:a16="http://schemas.microsoft.com/office/drawing/2014/main" id="{175557A7-DC27-4D7B-9448-0228C7BFC1D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37067" y="1253068"/>
            <a:ext cx="11641667" cy="5094817"/>
          </a:xfrm>
        </p:spPr>
        <p:txBody>
          <a:bodyPr/>
          <a:lstStyle>
            <a:lvl1pPr>
              <a:defRPr sz="2133">
                <a:solidFill>
                  <a:schemeClr val="tx1"/>
                </a:solidFill>
              </a:defRPr>
            </a:lvl1pPr>
            <a:lvl2pPr marL="609585" indent="-304792">
              <a:buClr>
                <a:schemeClr val="accent1"/>
              </a:buClr>
              <a:buFont typeface="Arial" panose="020B0604020202020204" pitchFamily="34" charset="0"/>
              <a:buChar char="•"/>
              <a:defRPr sz="2133" b="0"/>
            </a:lvl2pPr>
            <a:lvl3pPr marL="914377" indent="-304792"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  <a:tabLst>
                <a:tab pos="914377" algn="l"/>
              </a:tabLst>
              <a:defRPr/>
            </a:lvl3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slide_number">
            <a:extLst>
              <a:ext uri="{FF2B5EF4-FFF2-40B4-BE49-F238E27FC236}">
                <a16:creationId xmlns:a16="http://schemas.microsoft.com/office/drawing/2014/main" id="{D99F53D8-3C69-46DB-AF1F-056D5CFED4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37066" y="6554738"/>
            <a:ext cx="1200149" cy="2493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620931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ection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9" y="1319651"/>
            <a:ext cx="3495194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867F760-C803-3AA5-7534-42750FD6DB15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2" y="1708830"/>
            <a:ext cx="3485283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3FBFCDEF-6E12-C006-44B4-B2738D0792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80334" y="1319651"/>
            <a:ext cx="3495194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3B5895DB-1292-CE69-F1CC-CA026DACAC13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4395527" y="1708830"/>
            <a:ext cx="3485283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4394A274-82C6-2D1C-8004-8E7FF7B76E2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69806" y="1319651"/>
            <a:ext cx="3495194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B32BCAEC-CD76-D152-C494-48F60F7BFD47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8184999" y="1708830"/>
            <a:ext cx="3485283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22055296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3751070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2" spcCol="54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9248461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2" spcCol="360000"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7786942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2" spcCol="360000"/>
          <a:lstStyle>
            <a:lvl1pPr marL="457200" indent="-457200">
              <a:buClr>
                <a:schemeClr val="bg2"/>
              </a:buClr>
              <a:buFont typeface="+mj-lt"/>
              <a:buAutoNum type="arabicPeriod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4419258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54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6231582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ullets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360000"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5998708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Numbers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360000"/>
          <a:lstStyle>
            <a:lvl1pPr marL="457200" indent="-457200">
              <a:buClr>
                <a:schemeClr val="bg2"/>
              </a:buClr>
              <a:buFont typeface="+mj-lt"/>
              <a:buAutoNum type="arabicPeriod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4110148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ections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3534" y="1319651"/>
            <a:ext cx="5358213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867F760-C803-3AA5-7534-42750FD6DB15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2" y="1708830"/>
            <a:ext cx="5343019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87E7DAA2-4D74-8F73-20DD-AB5A220C5D1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17851" y="1319651"/>
            <a:ext cx="5358213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1E0345EA-841F-0CDC-4D3D-6F8A441AA78F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6333045" y="1708830"/>
            <a:ext cx="5343019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44813495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ection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9" y="1319651"/>
            <a:ext cx="3495194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867F760-C803-3AA5-7534-42750FD6DB15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2" y="1708830"/>
            <a:ext cx="3485283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3FBFCDEF-6E12-C006-44B4-B2738D0792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80334" y="1319651"/>
            <a:ext cx="3495194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3B5895DB-1292-CE69-F1CC-CA026DACAC13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4395527" y="1708830"/>
            <a:ext cx="3485283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4394A274-82C6-2D1C-8004-8E7FF7B76E2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69806" y="1319651"/>
            <a:ext cx="3495194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B32BCAEC-CD76-D152-C494-48F60F7BFD47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8184999" y="1708830"/>
            <a:ext cx="3485283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343267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Text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034B91B1-8758-0946-BB4D-13DA0D9CFAE1}"/>
              </a:ext>
            </a:extLst>
          </p:cNvPr>
          <p:cNvSpPr/>
          <p:nvPr userDrawn="1"/>
        </p:nvSpPr>
        <p:spPr>
          <a:xfrm>
            <a:off x="6241145" y="1191566"/>
            <a:ext cx="5434921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6FD39105-B790-2C4F-B73F-33A5D9995EDE}"/>
              </a:ext>
            </a:extLst>
          </p:cNvPr>
          <p:cNvSpPr/>
          <p:nvPr userDrawn="1"/>
        </p:nvSpPr>
        <p:spPr>
          <a:xfrm>
            <a:off x="515936" y="1191566"/>
            <a:ext cx="5434921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39DFE4E8-481D-4E4A-B357-9B609A673B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5167" y="1378325"/>
            <a:ext cx="5036457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79EED86D-C792-B740-BC35-66A672B0762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5167" y="2154362"/>
            <a:ext cx="5036457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CE98006B-2C07-2C4F-A8AC-A5AC433ED8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5167" y="1597378"/>
            <a:ext cx="5036457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0C03D58-F9E4-0944-BD0B-946EEFB2476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40376" y="1378325"/>
            <a:ext cx="5036457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80BF694F-37D7-D44B-8712-1767A33CD12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40376" y="2154362"/>
            <a:ext cx="5036457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1C6985EF-42F3-0D40-99CA-20F5F21446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40376" y="1597378"/>
            <a:ext cx="5036457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83218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Text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034B91B1-8758-0946-BB4D-13DA0D9CFAE1}"/>
              </a:ext>
            </a:extLst>
          </p:cNvPr>
          <p:cNvSpPr/>
          <p:nvPr userDrawn="1"/>
        </p:nvSpPr>
        <p:spPr>
          <a:xfrm>
            <a:off x="6241145" y="1191566"/>
            <a:ext cx="5434921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6FD39105-B790-2C4F-B73F-33A5D9995EDE}"/>
              </a:ext>
            </a:extLst>
          </p:cNvPr>
          <p:cNvSpPr/>
          <p:nvPr userDrawn="1"/>
        </p:nvSpPr>
        <p:spPr>
          <a:xfrm>
            <a:off x="515936" y="1191566"/>
            <a:ext cx="5434921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39DFE4E8-481D-4E4A-B357-9B609A673B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5167" y="1378325"/>
            <a:ext cx="5036457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79EED86D-C792-B740-BC35-66A672B0762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5167" y="2154362"/>
            <a:ext cx="5036457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CE98006B-2C07-2C4F-A8AC-A5AC433ED8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5167" y="1597378"/>
            <a:ext cx="5036457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0C03D58-F9E4-0944-BD0B-946EEFB2476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40376" y="1378325"/>
            <a:ext cx="5036457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80BF694F-37D7-D44B-8712-1767A33CD12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40376" y="2154362"/>
            <a:ext cx="5036457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1C6985EF-42F3-0D40-99CA-20F5F21446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40376" y="1597378"/>
            <a:ext cx="5036457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2152174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Text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6FD39105-B790-2C4F-B73F-33A5D9995EDE}"/>
              </a:ext>
            </a:extLst>
          </p:cNvPr>
          <p:cNvSpPr/>
          <p:nvPr userDrawn="1"/>
        </p:nvSpPr>
        <p:spPr>
          <a:xfrm>
            <a:off x="515935" y="1191566"/>
            <a:ext cx="3604651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39DFE4E8-481D-4E4A-B357-9B609A673B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5167" y="1378325"/>
            <a:ext cx="3214437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79EED86D-C792-B740-BC35-66A672B0762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5167" y="2154362"/>
            <a:ext cx="3214437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CE98006B-2C07-2C4F-A8AC-A5AC433ED8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5167" y="1597378"/>
            <a:ext cx="3214437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A64DF4DD-379B-FE5B-85E1-F80F85D07E89}"/>
              </a:ext>
            </a:extLst>
          </p:cNvPr>
          <p:cNvSpPr/>
          <p:nvPr userDrawn="1"/>
        </p:nvSpPr>
        <p:spPr>
          <a:xfrm>
            <a:off x="4290784" y="1191566"/>
            <a:ext cx="3604650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602ADDF3-C22C-9F63-2736-9FAAEA9A1E9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90015" y="1378325"/>
            <a:ext cx="3201361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EC84208B-5390-D845-9BFC-BBE060B525E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90015" y="2154362"/>
            <a:ext cx="3201361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62DC5739-6579-EFF5-5EE5-B79F9F4E3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90015" y="1597378"/>
            <a:ext cx="3201361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8" name="Rounded Rectangle 37">
            <a:extLst>
              <a:ext uri="{FF2B5EF4-FFF2-40B4-BE49-F238E27FC236}">
                <a16:creationId xmlns:a16="http://schemas.microsoft.com/office/drawing/2014/main" id="{A0FC7906-8744-F3F8-AA4F-08ADB6E6D43E}"/>
              </a:ext>
            </a:extLst>
          </p:cNvPr>
          <p:cNvSpPr/>
          <p:nvPr userDrawn="1"/>
        </p:nvSpPr>
        <p:spPr>
          <a:xfrm>
            <a:off x="8065632" y="1191566"/>
            <a:ext cx="3604650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F3AC3934-9579-D587-96AD-27B72F22B27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64863" y="1378325"/>
            <a:ext cx="3211970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37A42317-1A24-1AA6-D076-0E969CCF8BE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264863" y="2154362"/>
            <a:ext cx="3211970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ADCC5B80-D27A-2762-3E95-436EEE5A0DE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64863" y="1597378"/>
            <a:ext cx="3211970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7913432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9" y="3319670"/>
            <a:ext cx="3287436" cy="2593767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2874301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A5AC520F-8595-0F44-99A9-F0873ACA4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2282" y="3319670"/>
            <a:ext cx="3287436" cy="2593767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52282" y="2874301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AD30B9DC-1666-7446-9DFD-F674A273B4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82846" y="3326198"/>
            <a:ext cx="3287436" cy="2593767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C7816D18-C579-DE44-B3B4-5D3819813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846" y="2880829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319B0B18-4860-DA36-3440-4533856C913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624205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BF99AA58-9FC0-03DF-8208-27BED5F44ED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458071" y="1624205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AD148B2F-B493-BFBF-8393-261886DA3EE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382846" y="1624205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234530271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78B95D78-F57A-6D40-A841-7D1E3B0827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8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8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7" name="Picture Placeholder 3">
            <a:extLst>
              <a:ext uri="{FF2B5EF4-FFF2-40B4-BE49-F238E27FC236}">
                <a16:creationId xmlns:a16="http://schemas.microsoft.com/office/drawing/2014/main" id="{F48D299A-6257-AC74-0FD7-6D22E29A5C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87491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9E3D1709-B9E8-6689-9456-9D1A08D7BAA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87491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C714C56E-261C-2C43-2BCC-4B86E64EE01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87491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Picture Placeholder 3">
            <a:extLst>
              <a:ext uri="{FF2B5EF4-FFF2-40B4-BE49-F238E27FC236}">
                <a16:creationId xmlns:a16="http://schemas.microsoft.com/office/drawing/2014/main" id="{7BD682FD-9976-0C80-A887-A4D6D2E292B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59044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A9A5BE6C-6EDB-FAB6-4644-C243D0C501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59044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CB0F2787-5A74-A6DE-F13C-3D79E01FA60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59044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201E793D-C775-4026-041E-34664EC7CB2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130597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804BD5F4-CAC4-3B9A-26F3-C0C1833171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30598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B233CA27-29C3-9FC3-D859-9E09C4A5F85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130598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1320402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78B95D78-F57A-6D40-A841-7D1E3B0827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7" name="Picture Placeholder 3">
            <a:extLst>
              <a:ext uri="{FF2B5EF4-FFF2-40B4-BE49-F238E27FC236}">
                <a16:creationId xmlns:a16="http://schemas.microsoft.com/office/drawing/2014/main" id="{F48D299A-6257-AC74-0FD7-6D22E29A5C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80268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9E3D1709-B9E8-6689-9456-9D1A08D7BAA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80268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C714C56E-261C-2C43-2BCC-4B86E64EE01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0268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Picture Placeholder 3">
            <a:extLst>
              <a:ext uri="{FF2B5EF4-FFF2-40B4-BE49-F238E27FC236}">
                <a16:creationId xmlns:a16="http://schemas.microsoft.com/office/drawing/2014/main" id="{7BD682FD-9976-0C80-A887-A4D6D2E292B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08943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A9A5BE6C-6EDB-FAB6-4644-C243D0C501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8943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CB0F2787-5A74-A6DE-F13C-3D79E01FA60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8943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201E793D-C775-4026-041E-34664EC7CB2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37618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804BD5F4-CAC4-3B9A-26F3-C0C1833171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37618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B233CA27-29C3-9FC3-D859-9E09C4A5F85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37618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6" name="Picture Placeholder 3">
            <a:extLst>
              <a:ext uri="{FF2B5EF4-FFF2-40B4-BE49-F238E27FC236}">
                <a16:creationId xmlns:a16="http://schemas.microsoft.com/office/drawing/2014/main" id="{8B57295D-E6CF-D31C-B144-FCA5CB14DF6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66293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7" name="Text Placeholder 6">
            <a:extLst>
              <a:ext uri="{FF2B5EF4-FFF2-40B4-BE49-F238E27FC236}">
                <a16:creationId xmlns:a16="http://schemas.microsoft.com/office/drawing/2014/main" id="{AD0246CA-EA99-001F-02B9-8BA52DCE733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662940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8" name="Text Placeholder 6">
            <a:extLst>
              <a:ext uri="{FF2B5EF4-FFF2-40B4-BE49-F238E27FC236}">
                <a16:creationId xmlns:a16="http://schemas.microsoft.com/office/drawing/2014/main" id="{3D355FF6-773D-9D18-B07A-AFAED992F8C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9662940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6773734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4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78B95D78-F57A-6D40-A841-7D1E3B0827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304925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549400" y="1687057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549400" y="1304925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D3B567E7-3D24-6F43-A35A-BBC5B9C571B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5938" y="3786232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93E388B6-7D3E-7F4E-89BF-34EFDCA27B0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549400" y="4168364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881671EB-257B-ED4B-947C-F1B6F4FDC86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549400" y="3786232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2691027-CA0E-E24A-BE52-C681CD1360B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498773" y="1304925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6C29C828-D0AF-8740-B636-DCE11FB0484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532235" y="1687057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58CECF4C-60E6-054F-A58B-39ED49ED6AD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532235" y="1304925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CD7BB1DF-4B0D-0046-AD00-F6E58908BDE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498773" y="3786232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FDABD8D9-C71A-A446-8E62-82A359216E9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532235" y="4168364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0340EBB2-1491-9444-9D25-3567B2AAB22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532235" y="3786232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66349209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3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23" name="Round Same-side Corner of Rectangle 22">
            <a:extLst>
              <a:ext uri="{FF2B5EF4-FFF2-40B4-BE49-F238E27FC236}">
                <a16:creationId xmlns:a16="http://schemas.microsoft.com/office/drawing/2014/main" id="{16D0EA1C-2C30-674C-9E0D-D3B85EFE8B44}"/>
              </a:ext>
            </a:extLst>
          </p:cNvPr>
          <p:cNvSpPr/>
          <p:nvPr userDrawn="1"/>
        </p:nvSpPr>
        <p:spPr>
          <a:xfrm rot="5400000" flipH="1">
            <a:off x="8698709" y="2420146"/>
            <a:ext cx="1350948" cy="563563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0933F7F4-7E4A-AD4A-B080-3883C01BCEA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955149" y="5013397"/>
            <a:ext cx="3715133" cy="792044"/>
          </a:xfrm>
        </p:spPr>
        <p:txBody>
          <a:bodyPr anchor="t">
            <a:normAutofit/>
          </a:bodyPr>
          <a:lstStyle>
            <a:lvl1pPr marL="179388" indent="-179388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66DF01F6-3014-6E4B-AB71-62673ED7268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955149" y="4663313"/>
            <a:ext cx="1917616" cy="24925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1600" b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E49618F2-620F-A042-9095-E7C4C137E2ED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957092" y="4846809"/>
            <a:ext cx="767874" cy="767874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7" name="Round Same-side Corner of Rectangle 26">
            <a:extLst>
              <a:ext uri="{FF2B5EF4-FFF2-40B4-BE49-F238E27FC236}">
                <a16:creationId xmlns:a16="http://schemas.microsoft.com/office/drawing/2014/main" id="{CFB215F2-B96A-D14F-B549-E8D9FA660A0B}"/>
              </a:ext>
            </a:extLst>
          </p:cNvPr>
          <p:cNvSpPr/>
          <p:nvPr userDrawn="1"/>
        </p:nvSpPr>
        <p:spPr>
          <a:xfrm rot="5400000" flipH="1">
            <a:off x="8698709" y="791363"/>
            <a:ext cx="1350948" cy="563563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F2701821-5C13-4746-B598-28CE9EEFDFD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955149" y="3384614"/>
            <a:ext cx="3715133" cy="792044"/>
          </a:xfrm>
        </p:spPr>
        <p:txBody>
          <a:bodyPr anchor="t">
            <a:normAutofit/>
          </a:bodyPr>
          <a:lstStyle>
            <a:lvl1pPr marL="179388" indent="-179388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8C928579-FF9D-8E4F-912D-F44BF03ECF0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955149" y="3034530"/>
            <a:ext cx="1917616" cy="24925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1600" b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B617E54E-8C7A-E24B-A3E6-FFD196430237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957092" y="3218026"/>
            <a:ext cx="767874" cy="767874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1" name="Round Same-side Corner of Rectangle 30">
            <a:extLst>
              <a:ext uri="{FF2B5EF4-FFF2-40B4-BE49-F238E27FC236}">
                <a16:creationId xmlns:a16="http://schemas.microsoft.com/office/drawing/2014/main" id="{468DF2F5-0340-4C4E-8BAB-B68D68BDB1CC}"/>
              </a:ext>
            </a:extLst>
          </p:cNvPr>
          <p:cNvSpPr/>
          <p:nvPr userDrawn="1"/>
        </p:nvSpPr>
        <p:spPr>
          <a:xfrm rot="5400000" flipH="1">
            <a:off x="8698709" y="-837418"/>
            <a:ext cx="1350948" cy="563563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8297A7AF-4FD1-0044-A50C-5C0CE488521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955149" y="1755833"/>
            <a:ext cx="3715133" cy="792044"/>
          </a:xfrm>
        </p:spPr>
        <p:txBody>
          <a:bodyPr anchor="t">
            <a:normAutofit/>
          </a:bodyPr>
          <a:lstStyle>
            <a:lvl1pPr marL="179388" indent="-179388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6C19D012-767E-A845-8105-4B4C4887921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955149" y="1405749"/>
            <a:ext cx="1917616" cy="24925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1600" b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DD5DD0FD-09C0-E049-944D-E6046E4FD565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957092" y="1589245"/>
            <a:ext cx="767874" cy="767874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672591417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 Chart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5498C8CE-3879-2F54-526A-4FB3BC35A614}"/>
              </a:ext>
            </a:extLst>
          </p:cNvPr>
          <p:cNvGrpSpPr/>
          <p:nvPr userDrawn="1"/>
        </p:nvGrpSpPr>
        <p:grpSpPr>
          <a:xfrm>
            <a:off x="506981" y="2354656"/>
            <a:ext cx="11169081" cy="3558782"/>
            <a:chOff x="506982" y="1923728"/>
            <a:chExt cx="8410120" cy="2679700"/>
          </a:xfrm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FF8E22B8-C626-33CF-AF31-C216F15358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859702" y="1923728"/>
              <a:ext cx="2057400" cy="2679700"/>
            </a:xfrm>
            <a:prstGeom prst="rect">
              <a:avLst/>
            </a:prstGeom>
          </p:spPr>
        </p:pic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51CC370D-D55C-CF1D-A84D-FC3FD269EF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733662" y="1923728"/>
              <a:ext cx="2209800" cy="2679700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0CF38F8D-CE10-398F-DC92-0410984D5CA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2607622" y="1923728"/>
              <a:ext cx="2209800" cy="2679700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71C8FE21-D454-2669-5018-BDB88B7A469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06982" y="1923728"/>
              <a:ext cx="2184400" cy="2679700"/>
            </a:xfrm>
            <a:prstGeom prst="rect">
              <a:avLst/>
            </a:prstGeom>
          </p:spPr>
        </p:pic>
      </p:grp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469A369E-3216-3A94-D069-C4212D6C5B2A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5"/>
            <a:ext cx="11144930" cy="853194"/>
          </a:xfrm>
        </p:spPr>
        <p:txBody>
          <a:bodyPr numCol="1" spcCol="180000"/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8A9C1315-921F-285F-D6BD-A177DE53DC2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5643" y="3054704"/>
            <a:ext cx="2290922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4F0999A6-8092-1A74-E3A2-26CC341F65C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5643" y="2501966"/>
            <a:ext cx="2290922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F5E81801-D408-BD68-8EF8-821176E431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583362" y="3054704"/>
            <a:ext cx="2231105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FE29D8EA-6114-4150-3B97-EAD0BB047B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83362" y="2501966"/>
            <a:ext cx="2231105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832C3EE2-E731-14E8-F235-F0DC107603F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396559" y="3054704"/>
            <a:ext cx="2251850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3514D2BC-4EB5-482F-640F-D4ECA3398E7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96559" y="2501966"/>
            <a:ext cx="2251850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176B8D71-6027-E9D4-DE0B-4336DE4C876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244461" y="3054704"/>
            <a:ext cx="2290922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006DA17C-A871-793A-2C8F-F98A0EDA8E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244461" y="2501966"/>
            <a:ext cx="2290922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87989490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63869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D67BD3D-5E5B-2957-7B72-B286DEA69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1DD0B93-9CA3-DE96-64E9-7FECBAD37972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id="{F3526303-0969-95FB-D8FA-0C9E39165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21" name="Picture 11">
            <a:extLst>
              <a:ext uri="{FF2B5EF4-FFF2-40B4-BE49-F238E27FC236}">
                <a16:creationId xmlns:a16="http://schemas.microsoft.com/office/drawing/2014/main" id="{24A4E3D3-8EF4-A80C-4780-9639C12D4E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6DFBA0EA-6763-E017-8DB4-792094E59657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6652260" y="1304924"/>
            <a:ext cx="5033328" cy="4608501"/>
          </a:xfrm>
        </p:spPr>
        <p:txBody>
          <a:bodyPr numCol="1" spcCol="180000">
            <a:noAutofit/>
          </a:bodyPr>
          <a:lstStyle>
            <a:lvl1pPr marL="0" indent="0"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400" b="1">
                <a:solidFill>
                  <a:schemeClr val="accent4"/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85918805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63869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D7BA9708-B496-A663-CB06-FD4F2E3602E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59525" y="3227929"/>
            <a:ext cx="5326063" cy="2685506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D67BD3D-5E5B-2957-7B72-B286DEA69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1DD0B93-9CA3-DE96-64E9-7FECBAD37972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id="{F3526303-0969-95FB-D8FA-0C9E39165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21" name="Picture 11">
            <a:extLst>
              <a:ext uri="{FF2B5EF4-FFF2-40B4-BE49-F238E27FC236}">
                <a16:creationId xmlns:a16="http://schemas.microsoft.com/office/drawing/2014/main" id="{24A4E3D3-8EF4-A80C-4780-9639C12D4E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6DFBA0EA-6763-E017-8DB4-792094E59657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6345193" y="1304925"/>
            <a:ext cx="5340395" cy="312265"/>
          </a:xfrm>
        </p:spPr>
        <p:txBody>
          <a:bodyPr numCol="1" spcCol="180000">
            <a:spAutoFit/>
          </a:bodyPr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 b="1">
                <a:solidFill>
                  <a:schemeClr val="accent4"/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4BC205A0-AF05-E822-A6D1-8E80B8895804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345193" y="5962960"/>
            <a:ext cx="5340395" cy="140488"/>
          </a:xfrm>
        </p:spPr>
        <p:txBody>
          <a:bodyPr numCol="1" spcCol="180000">
            <a:spAutoFit/>
          </a:bodyPr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Optional image caption</a:t>
            </a:r>
          </a:p>
        </p:txBody>
      </p:sp>
    </p:spTree>
    <p:extLst>
      <p:ext uri="{BB962C8B-B14F-4D97-AF65-F5344CB8AC3E}">
        <p14:creationId xmlns:p14="http://schemas.microsoft.com/office/powerpoint/2010/main" val="3270215917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5315BB4-CEA5-4429-26F4-D4B56B8BE14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59525" y="368300"/>
            <a:ext cx="5326063" cy="2685505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D7BA9708-B496-A663-CB06-FD4F2E3602E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59525" y="3227929"/>
            <a:ext cx="5326063" cy="2685506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D67BD3D-5E5B-2957-7B72-B286DEA69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1DD0B93-9CA3-DE96-64E9-7FECBAD37972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id="{F3526303-0969-95FB-D8FA-0C9E39165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21" name="Picture 11">
            <a:extLst>
              <a:ext uri="{FF2B5EF4-FFF2-40B4-BE49-F238E27FC236}">
                <a16:creationId xmlns:a16="http://schemas.microsoft.com/office/drawing/2014/main" id="{24A4E3D3-8EF4-A80C-4780-9639C12D4E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02F1485A-E0B4-C14E-58C4-9144A8FEE29C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345193" y="5962960"/>
            <a:ext cx="5340395" cy="140488"/>
          </a:xfrm>
        </p:spPr>
        <p:txBody>
          <a:bodyPr numCol="1" spcCol="180000">
            <a:spAutoFit/>
          </a:bodyPr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Optional image caption</a:t>
            </a:r>
          </a:p>
        </p:txBody>
      </p:sp>
    </p:spTree>
    <p:extLst>
      <p:ext uri="{BB962C8B-B14F-4D97-AF65-F5344CB8AC3E}">
        <p14:creationId xmlns:p14="http://schemas.microsoft.com/office/powerpoint/2010/main" val="4113347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(Text Only)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13">
            <a:extLst>
              <a:ext uri="{FF2B5EF4-FFF2-40B4-BE49-F238E27FC236}">
                <a16:creationId xmlns:a16="http://schemas.microsoft.com/office/drawing/2014/main" id="{52467373-D57C-F842-8976-B87DEFBE83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1777"/>
            <a:ext cx="1304260" cy="48768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4F144B-74C7-A148-8E87-6034061E0CB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8" y="3185432"/>
            <a:ext cx="6966786" cy="234609"/>
          </a:xfrm>
        </p:spPr>
        <p:txBody>
          <a:bodyPr>
            <a:normAutofit/>
          </a:bodyPr>
          <a:lstStyle>
            <a:lvl1pPr>
              <a:defRPr sz="1600" spc="300">
                <a:solidFill>
                  <a:schemeClr val="bg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89FFAF13-E12B-E54E-B2B2-5142A884DB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66552"/>
            <a:ext cx="11154344" cy="192903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defRPr sz="6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7" name="Picture 6" descr="Shape&#10;&#10;Description automatically generated">
            <a:extLst>
              <a:ext uri="{FF2B5EF4-FFF2-40B4-BE49-F238E27FC236}">
                <a16:creationId xmlns:a16="http://schemas.microsoft.com/office/drawing/2014/main" id="{D2830A3C-7ED1-2741-8ED4-600D60D8DBD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0" y="0"/>
            <a:ext cx="5103637" cy="2938921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1962001-1C91-5E41-8B60-B760F9679B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8" y="441777"/>
            <a:ext cx="2115580" cy="1331912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9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90819740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Text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6FD39105-B790-2C4F-B73F-33A5D9995EDE}"/>
              </a:ext>
            </a:extLst>
          </p:cNvPr>
          <p:cNvSpPr/>
          <p:nvPr userDrawn="1"/>
        </p:nvSpPr>
        <p:spPr>
          <a:xfrm>
            <a:off x="515935" y="1191566"/>
            <a:ext cx="3604651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39DFE4E8-481D-4E4A-B357-9B609A673B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5167" y="1378325"/>
            <a:ext cx="3214437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79EED86D-C792-B740-BC35-66A672B0762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5167" y="2154362"/>
            <a:ext cx="3214437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CE98006B-2C07-2C4F-A8AC-A5AC433ED8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5167" y="1597378"/>
            <a:ext cx="3214437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A64DF4DD-379B-FE5B-85E1-F80F85D07E89}"/>
              </a:ext>
            </a:extLst>
          </p:cNvPr>
          <p:cNvSpPr/>
          <p:nvPr userDrawn="1"/>
        </p:nvSpPr>
        <p:spPr>
          <a:xfrm>
            <a:off x="4290784" y="1191566"/>
            <a:ext cx="3604650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602ADDF3-C22C-9F63-2736-9FAAEA9A1E9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90015" y="1378325"/>
            <a:ext cx="3201361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EC84208B-5390-D845-9BFC-BBE060B525E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90015" y="2154362"/>
            <a:ext cx="3201361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62DC5739-6579-EFF5-5EE5-B79F9F4E3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90015" y="1597378"/>
            <a:ext cx="3201361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8" name="Rounded Rectangle 37">
            <a:extLst>
              <a:ext uri="{FF2B5EF4-FFF2-40B4-BE49-F238E27FC236}">
                <a16:creationId xmlns:a16="http://schemas.microsoft.com/office/drawing/2014/main" id="{A0FC7906-8744-F3F8-AA4F-08ADB6E6D43E}"/>
              </a:ext>
            </a:extLst>
          </p:cNvPr>
          <p:cNvSpPr/>
          <p:nvPr userDrawn="1"/>
        </p:nvSpPr>
        <p:spPr>
          <a:xfrm>
            <a:off x="8065632" y="1191566"/>
            <a:ext cx="3604650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F3AC3934-9579-D587-96AD-27B72F22B27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64863" y="1378325"/>
            <a:ext cx="3211970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37A42317-1A24-1AA6-D076-0E969CCF8BE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264863" y="2154362"/>
            <a:ext cx="3211970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ADCC5B80-D27A-2762-3E95-436EEE5A0DE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64863" y="1597378"/>
            <a:ext cx="3211970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4231004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7">
            <a:extLst>
              <a:ext uri="{FF2B5EF4-FFF2-40B4-BE49-F238E27FC236}">
                <a16:creationId xmlns:a16="http://schemas.microsoft.com/office/drawing/2014/main" id="{1426049D-A517-EA42-AFCA-8DDB22C6BA3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495588" y="-10508"/>
            <a:ext cx="5711376" cy="6879020"/>
          </a:xfrm>
          <a:custGeom>
            <a:avLst/>
            <a:gdLst>
              <a:gd name="connsiteX0" fmla="*/ 0 w 7962406"/>
              <a:gd name="connsiteY0" fmla="*/ 0 h 6857999"/>
              <a:gd name="connsiteX1" fmla="*/ 7962406 w 7962406"/>
              <a:gd name="connsiteY1" fmla="*/ 0 h 6857999"/>
              <a:gd name="connsiteX2" fmla="*/ 7962406 w 7962406"/>
              <a:gd name="connsiteY2" fmla="*/ 6857999 h 6857999"/>
              <a:gd name="connsiteX3" fmla="*/ 1019785 w 7962406"/>
              <a:gd name="connsiteY3" fmla="*/ 6857999 h 6857999"/>
              <a:gd name="connsiteX4" fmla="*/ 0 w 7962406"/>
              <a:gd name="connsiteY4" fmla="*/ 5838214 h 6857999"/>
              <a:gd name="connsiteX0" fmla="*/ 0 w 7962406"/>
              <a:gd name="connsiteY0" fmla="*/ 0 h 6857999"/>
              <a:gd name="connsiteX1" fmla="*/ 6039013 w 7962406"/>
              <a:gd name="connsiteY1" fmla="*/ 84083 h 6857999"/>
              <a:gd name="connsiteX2" fmla="*/ 7962406 w 7962406"/>
              <a:gd name="connsiteY2" fmla="*/ 6857999 h 6857999"/>
              <a:gd name="connsiteX3" fmla="*/ 1019785 w 7962406"/>
              <a:gd name="connsiteY3" fmla="*/ 6857999 h 6857999"/>
              <a:gd name="connsiteX4" fmla="*/ 0 w 7962406"/>
              <a:gd name="connsiteY4" fmla="*/ 5838214 h 6857999"/>
              <a:gd name="connsiteX5" fmla="*/ 0 w 7962406"/>
              <a:gd name="connsiteY5" fmla="*/ 0 h 6857999"/>
              <a:gd name="connsiteX0" fmla="*/ 0 w 7962406"/>
              <a:gd name="connsiteY0" fmla="*/ 10510 h 6868509"/>
              <a:gd name="connsiteX1" fmla="*/ 6144117 w 7962406"/>
              <a:gd name="connsiteY1" fmla="*/ 0 h 6868509"/>
              <a:gd name="connsiteX2" fmla="*/ 7962406 w 7962406"/>
              <a:gd name="connsiteY2" fmla="*/ 6868509 h 6868509"/>
              <a:gd name="connsiteX3" fmla="*/ 1019785 w 7962406"/>
              <a:gd name="connsiteY3" fmla="*/ 6868509 h 6868509"/>
              <a:gd name="connsiteX4" fmla="*/ 0 w 7962406"/>
              <a:gd name="connsiteY4" fmla="*/ 5848724 h 6868509"/>
              <a:gd name="connsiteX5" fmla="*/ 0 w 7962406"/>
              <a:gd name="connsiteY5" fmla="*/ 10510 h 6868509"/>
              <a:gd name="connsiteX0" fmla="*/ 0 w 6144117"/>
              <a:gd name="connsiteY0" fmla="*/ 10510 h 6868509"/>
              <a:gd name="connsiteX1" fmla="*/ 6144117 w 6144117"/>
              <a:gd name="connsiteY1" fmla="*/ 0 h 6868509"/>
              <a:gd name="connsiteX2" fmla="*/ 5660640 w 6144117"/>
              <a:gd name="connsiteY2" fmla="*/ 6563709 h 6868509"/>
              <a:gd name="connsiteX3" fmla="*/ 1019785 w 6144117"/>
              <a:gd name="connsiteY3" fmla="*/ 6868509 h 6868509"/>
              <a:gd name="connsiteX4" fmla="*/ 0 w 6144117"/>
              <a:gd name="connsiteY4" fmla="*/ 5848724 h 6868509"/>
              <a:gd name="connsiteX5" fmla="*/ 0 w 6144117"/>
              <a:gd name="connsiteY5" fmla="*/ 10510 h 6868509"/>
              <a:gd name="connsiteX0" fmla="*/ 0 w 6154626"/>
              <a:gd name="connsiteY0" fmla="*/ 10510 h 6879020"/>
              <a:gd name="connsiteX1" fmla="*/ 6144117 w 6154626"/>
              <a:gd name="connsiteY1" fmla="*/ 0 h 6879020"/>
              <a:gd name="connsiteX2" fmla="*/ 6154626 w 6154626"/>
              <a:gd name="connsiteY2" fmla="*/ 6879020 h 6879020"/>
              <a:gd name="connsiteX3" fmla="*/ 1019785 w 6154626"/>
              <a:gd name="connsiteY3" fmla="*/ 6868509 h 6879020"/>
              <a:gd name="connsiteX4" fmla="*/ 0 w 6154626"/>
              <a:gd name="connsiteY4" fmla="*/ 5848724 h 6879020"/>
              <a:gd name="connsiteX5" fmla="*/ 0 w 6154626"/>
              <a:gd name="connsiteY5" fmla="*/ 10510 h 6879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54626" h="6879020">
                <a:moveTo>
                  <a:pt x="0" y="10510"/>
                </a:moveTo>
                <a:lnTo>
                  <a:pt x="6144117" y="0"/>
                </a:lnTo>
                <a:lnTo>
                  <a:pt x="6154626" y="6879020"/>
                </a:lnTo>
                <a:lnTo>
                  <a:pt x="1019785" y="6868509"/>
                </a:lnTo>
                <a:cubicBezTo>
                  <a:pt x="456573" y="6868509"/>
                  <a:pt x="0" y="6411936"/>
                  <a:pt x="0" y="5848724"/>
                </a:cubicBezTo>
                <a:lnTo>
                  <a:pt x="0" y="1051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insert pictur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E04A98-CDC1-2043-A233-CAA53ED2E1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43129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04952410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E04A98-CDC1-2043-A233-CAA53ED2E1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43129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D7270696-0AB9-0445-9B12-E1B6CE40D32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685640" y="0"/>
            <a:ext cx="6506360" cy="6858000"/>
          </a:xfrm>
          <a:custGeom>
            <a:avLst/>
            <a:gdLst>
              <a:gd name="connsiteX0" fmla="*/ 0 w 6506360"/>
              <a:gd name="connsiteY0" fmla="*/ 0 h 6858000"/>
              <a:gd name="connsiteX1" fmla="*/ 6506360 w 6506360"/>
              <a:gd name="connsiteY1" fmla="*/ 0 h 6858000"/>
              <a:gd name="connsiteX2" fmla="*/ 6506360 w 6506360"/>
              <a:gd name="connsiteY2" fmla="*/ 6858000 h 6858000"/>
              <a:gd name="connsiteX3" fmla="*/ 816590 w 6506360"/>
              <a:gd name="connsiteY3" fmla="*/ 6858000 h 6858000"/>
              <a:gd name="connsiteX4" fmla="*/ 816590 w 6506360"/>
              <a:gd name="connsiteY4" fmla="*/ 939979 h 6858000"/>
              <a:gd name="connsiteX5" fmla="*/ 57657 w 6506360"/>
              <a:gd name="connsiteY5" fmla="*/ 8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06360" h="6858000">
                <a:moveTo>
                  <a:pt x="0" y="0"/>
                </a:moveTo>
                <a:lnTo>
                  <a:pt x="6506360" y="0"/>
                </a:lnTo>
                <a:lnTo>
                  <a:pt x="6506360" y="6858000"/>
                </a:lnTo>
                <a:lnTo>
                  <a:pt x="816590" y="6858000"/>
                </a:lnTo>
                <a:lnTo>
                  <a:pt x="816590" y="939979"/>
                </a:lnTo>
                <a:cubicBezTo>
                  <a:pt x="816590" y="480656"/>
                  <a:pt x="490779" y="97429"/>
                  <a:pt x="57657" y="880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7DCA613B-D18E-594C-9579-2E40707B7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643128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45395161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E04A98-CDC1-2043-A233-CAA53ED2E1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43129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D7270696-0AB9-0445-9B12-E1B6CE40D32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685640" y="0"/>
            <a:ext cx="6506360" cy="6858000"/>
          </a:xfrm>
          <a:custGeom>
            <a:avLst/>
            <a:gdLst>
              <a:gd name="connsiteX0" fmla="*/ 0 w 6506360"/>
              <a:gd name="connsiteY0" fmla="*/ 0 h 6858000"/>
              <a:gd name="connsiteX1" fmla="*/ 6506360 w 6506360"/>
              <a:gd name="connsiteY1" fmla="*/ 0 h 6858000"/>
              <a:gd name="connsiteX2" fmla="*/ 6506360 w 6506360"/>
              <a:gd name="connsiteY2" fmla="*/ 6858000 h 6858000"/>
              <a:gd name="connsiteX3" fmla="*/ 816590 w 6506360"/>
              <a:gd name="connsiteY3" fmla="*/ 6858000 h 6858000"/>
              <a:gd name="connsiteX4" fmla="*/ 816590 w 6506360"/>
              <a:gd name="connsiteY4" fmla="*/ 939979 h 6858000"/>
              <a:gd name="connsiteX5" fmla="*/ 57657 w 6506360"/>
              <a:gd name="connsiteY5" fmla="*/ 8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06360" h="6858000">
                <a:moveTo>
                  <a:pt x="0" y="0"/>
                </a:moveTo>
                <a:lnTo>
                  <a:pt x="6506360" y="0"/>
                </a:lnTo>
                <a:lnTo>
                  <a:pt x="6506360" y="6858000"/>
                </a:lnTo>
                <a:lnTo>
                  <a:pt x="816590" y="6858000"/>
                </a:lnTo>
                <a:lnTo>
                  <a:pt x="816590" y="939979"/>
                </a:lnTo>
                <a:cubicBezTo>
                  <a:pt x="816590" y="480656"/>
                  <a:pt x="490779" y="97429"/>
                  <a:pt x="57657" y="880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7DCA613B-D18E-594C-9579-2E40707B7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643128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E2F4BDEF-FEFC-0BDD-3EB4-7710855ED6AB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515937" y="1329378"/>
            <a:ext cx="5580062" cy="4637076"/>
          </a:xfrm>
        </p:spPr>
        <p:txBody>
          <a:bodyPr numCol="1" spcCol="180000" anchor="t">
            <a:noAutofit/>
          </a:bodyPr>
          <a:lstStyle>
            <a:lvl1pPr marL="0" indent="0">
              <a:lnSpc>
                <a:spcPct val="100000"/>
              </a:lnSpc>
              <a:spcAft>
                <a:spcPts val="1800"/>
              </a:spcAft>
              <a:buClr>
                <a:schemeClr val="bg2"/>
              </a:buClr>
              <a:buFont typeface="Arial" panose="020B0604020202020204" pitchFamily="34" charset="0"/>
              <a:buNone/>
              <a:defRPr sz="2800" b="1">
                <a:solidFill>
                  <a:schemeClr val="accent4"/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D7D9C6B7-7323-827F-E01F-2EFDCE7214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45035180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s + Images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8" y="4360961"/>
            <a:ext cx="5234437" cy="1538516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8" y="3915591"/>
            <a:ext cx="5234437" cy="281103"/>
          </a:xfrm>
        </p:spPr>
        <p:txBody>
          <a:bodyPr wrap="square"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A5AC520F-8595-0F44-99A9-F0873ACA4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41625" y="4360961"/>
            <a:ext cx="5234437" cy="1538516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41625" y="3915591"/>
            <a:ext cx="5234437" cy="281103"/>
          </a:xfrm>
        </p:spPr>
        <p:txBody>
          <a:bodyPr wrap="square"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4EF54ED7-3E2F-C8F7-553C-1DB155F7DBD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15938" y="1304924"/>
            <a:ext cx="5234438" cy="2400167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BCF59FD3-6B56-67EF-C1E8-78C92005D9A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441625" y="1304924"/>
            <a:ext cx="5234438" cy="2400167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716181000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s + Image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9" y="3726649"/>
            <a:ext cx="3287436" cy="2121010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3281279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A5AC520F-8595-0F44-99A9-F0873ACA4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2282" y="3726649"/>
            <a:ext cx="3287436" cy="2121010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52282" y="3281279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AD30B9DC-1666-7446-9DFD-F674A273B4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82846" y="3733177"/>
            <a:ext cx="3287436" cy="2121010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C7816D18-C579-DE44-B3B4-5D3819813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846" y="3287807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4EF54ED7-3E2F-C8F7-553C-1DB155F7DBD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15938" y="1304925"/>
            <a:ext cx="3287437" cy="1826421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BCF59FD3-6B56-67EF-C1E8-78C92005D9A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452281" y="1304925"/>
            <a:ext cx="3287437" cy="1826421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AA59D731-0D13-EB6C-7B10-1B59D3D8C5AA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388626" y="1304925"/>
            <a:ext cx="3287437" cy="1826421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615039081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4050217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52282" y="4050217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C7816D18-C579-DE44-B3B4-5D3819813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846" y="4056745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B0250E06-295E-B6E6-95C4-089EF7886C7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39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1638B5E-8DB0-EAFF-0CF3-8812AF05A9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49392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248EBF9A-10A9-92FA-05B2-3A952388340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82846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D2E71522-4C4D-EAC4-2A71-F45B1F18D569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5"/>
            <a:ext cx="11144930" cy="1369692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55919310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s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62" name="Title Placeholder 1">
            <a:extLst>
              <a:ext uri="{FF2B5EF4-FFF2-40B4-BE49-F238E27FC236}">
                <a16:creationId xmlns:a16="http://schemas.microsoft.com/office/drawing/2014/main" id="{14F0825D-90B8-6120-7F14-9DC0960BC9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63" name="Text Placeholder 6">
            <a:extLst>
              <a:ext uri="{FF2B5EF4-FFF2-40B4-BE49-F238E27FC236}">
                <a16:creationId xmlns:a16="http://schemas.microsoft.com/office/drawing/2014/main" id="{AF40E274-F0AF-0436-1F33-86E04DCC0DA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39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DB2C3DC3-9DBF-095B-1AEB-4513EE50C647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1566849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5" name="Text Placeholder 6">
            <a:extLst>
              <a:ext uri="{FF2B5EF4-FFF2-40B4-BE49-F238E27FC236}">
                <a16:creationId xmlns:a16="http://schemas.microsoft.com/office/drawing/2014/main" id="{EBBD32EE-C0FF-E8CB-43E3-315A609AEFE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6" name="Text Placeholder 6">
            <a:extLst>
              <a:ext uri="{FF2B5EF4-FFF2-40B4-BE49-F238E27FC236}">
                <a16:creationId xmlns:a16="http://schemas.microsoft.com/office/drawing/2014/main" id="{9E2EB64B-500A-8201-8F3F-287FDE60FB1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0268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7" name="Text Placeholder 6">
            <a:extLst>
              <a:ext uri="{FF2B5EF4-FFF2-40B4-BE49-F238E27FC236}">
                <a16:creationId xmlns:a16="http://schemas.microsoft.com/office/drawing/2014/main" id="{709BC01A-3AFB-CE31-0E4A-EE885FE2D5A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8943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8" name="Text Placeholder 6">
            <a:extLst>
              <a:ext uri="{FF2B5EF4-FFF2-40B4-BE49-F238E27FC236}">
                <a16:creationId xmlns:a16="http://schemas.microsoft.com/office/drawing/2014/main" id="{CD03EE5B-6B86-7B77-E541-93CE0511523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37618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9" name="Text Placeholder 6">
            <a:extLst>
              <a:ext uri="{FF2B5EF4-FFF2-40B4-BE49-F238E27FC236}">
                <a16:creationId xmlns:a16="http://schemas.microsoft.com/office/drawing/2014/main" id="{F9CB884D-6999-7DC7-1825-FC60BEC935BD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662940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0" name="Text Placeholder 6">
            <a:extLst>
              <a:ext uri="{FF2B5EF4-FFF2-40B4-BE49-F238E27FC236}">
                <a16:creationId xmlns:a16="http://schemas.microsoft.com/office/drawing/2014/main" id="{F03D69DA-4061-E20B-1262-8A9F09B92D2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790107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71" name="Text Placeholder 6">
            <a:extLst>
              <a:ext uri="{FF2B5EF4-FFF2-40B4-BE49-F238E27FC236}">
                <a16:creationId xmlns:a16="http://schemas.microsoft.com/office/drawing/2014/main" id="{4DA3F266-6EB8-18CF-146E-FCE0EE2BCCE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064275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72" name="Text Placeholder 6">
            <a:extLst>
              <a:ext uri="{FF2B5EF4-FFF2-40B4-BE49-F238E27FC236}">
                <a16:creationId xmlns:a16="http://schemas.microsoft.com/office/drawing/2014/main" id="{ABAC94EC-4D3A-CEAC-3763-AE5EBA84295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376189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73" name="Text Placeholder 6">
            <a:extLst>
              <a:ext uri="{FF2B5EF4-FFF2-40B4-BE49-F238E27FC236}">
                <a16:creationId xmlns:a16="http://schemas.microsoft.com/office/drawing/2014/main" id="{CB8F9A8E-E04A-1CA2-A320-7A4AE6F70DD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662940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</p:spTree>
    <p:extLst>
      <p:ext uri="{BB962C8B-B14F-4D97-AF65-F5344CB8AC3E}">
        <p14:creationId xmlns:p14="http://schemas.microsoft.com/office/powerpoint/2010/main" val="2173512517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/Milestones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id="{B7F29198-E920-459C-2862-C2C7FB6FEB6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545069581"/>
              </p:ext>
            </p:extLst>
          </p:nvPr>
        </p:nvGraphicFramePr>
        <p:xfrm>
          <a:off x="606585" y="2278196"/>
          <a:ext cx="11007608" cy="3618726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2751902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2751902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2751902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2751902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</a:tblGrid>
              <a:tr h="361872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78195"/>
            <a:ext cx="11036388" cy="45719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47D58FC1-83B9-3BAD-C3EF-06E8D5DE120F}"/>
              </a:ext>
            </a:extLst>
          </p:cNvPr>
          <p:cNvSpPr>
            <a:spLocks noChangeAspect="1"/>
          </p:cNvSpPr>
          <p:nvPr userDrawn="1"/>
        </p:nvSpPr>
        <p:spPr>
          <a:xfrm>
            <a:off x="3460438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9D582DFC-3D0D-D5F8-AA6B-5676C8C4B3BF}"/>
              </a:ext>
            </a:extLst>
          </p:cNvPr>
          <p:cNvSpPr>
            <a:spLocks noChangeAspect="1"/>
          </p:cNvSpPr>
          <p:nvPr userDrawn="1"/>
        </p:nvSpPr>
        <p:spPr>
          <a:xfrm>
            <a:off x="6227970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DF486150-9219-560A-8B4F-FB551F786E68}"/>
              </a:ext>
            </a:extLst>
          </p:cNvPr>
          <p:cNvSpPr>
            <a:spLocks noChangeAspect="1"/>
          </p:cNvSpPr>
          <p:nvPr userDrawn="1"/>
        </p:nvSpPr>
        <p:spPr>
          <a:xfrm>
            <a:off x="8985924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18875"/>
            <a:ext cx="2767426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5" name="Text Placeholder 71">
            <a:extLst>
              <a:ext uri="{FF2B5EF4-FFF2-40B4-BE49-F238E27FC236}">
                <a16:creationId xmlns:a16="http://schemas.microsoft.com/office/drawing/2014/main" id="{799F0539-8B24-4E4B-EF4C-121B551D8B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4603" y="1818875"/>
            <a:ext cx="2746295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6" name="Text Placeholder 71">
            <a:extLst>
              <a:ext uri="{FF2B5EF4-FFF2-40B4-BE49-F238E27FC236}">
                <a16:creationId xmlns:a16="http://schemas.microsoft.com/office/drawing/2014/main" id="{9DFB2CE5-A177-E72D-3CD4-2646E4DCE50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00141" y="1818875"/>
            <a:ext cx="2745959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7" name="Text Placeholder 71">
            <a:extLst>
              <a:ext uri="{FF2B5EF4-FFF2-40B4-BE49-F238E27FC236}">
                <a16:creationId xmlns:a16="http://schemas.microsoft.com/office/drawing/2014/main" id="{7A262EC1-F639-E81C-3343-3DA348DA926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46100" y="1818875"/>
            <a:ext cx="2773719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0FE60C61-D20F-0DE2-38DC-62D2FAD3847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6471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7F661011-0524-7D80-F0B1-7EB66B450AD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361059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4">
            <a:extLst>
              <a:ext uri="{FF2B5EF4-FFF2-40B4-BE49-F238E27FC236}">
                <a16:creationId xmlns:a16="http://schemas.microsoft.com/office/drawing/2014/main" id="{5F501377-4DE1-C96B-B5CB-4675C424B7F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100140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Text Placeholder 4">
            <a:extLst>
              <a:ext uri="{FF2B5EF4-FFF2-40B4-BE49-F238E27FC236}">
                <a16:creationId xmlns:a16="http://schemas.microsoft.com/office/drawing/2014/main" id="{71120A03-3A4D-1301-C17A-86C4C160588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848429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49693037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/Milestones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id="{B7F29198-E920-459C-2862-C2C7FB6FEB6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495489908"/>
              </p:ext>
            </p:extLst>
          </p:nvPr>
        </p:nvGraphicFramePr>
        <p:xfrm>
          <a:off x="606585" y="2265316"/>
          <a:ext cx="11007610" cy="3618719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2201522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2456329606"/>
                    </a:ext>
                  </a:extLst>
                </a:gridCol>
              </a:tblGrid>
              <a:tr h="3618719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65316"/>
            <a:ext cx="11042014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47D58FC1-83B9-3BAD-C3EF-06E8D5DE120F}"/>
              </a:ext>
            </a:extLst>
          </p:cNvPr>
          <p:cNvSpPr>
            <a:spLocks noChangeAspect="1"/>
          </p:cNvSpPr>
          <p:nvPr userDrawn="1"/>
        </p:nvSpPr>
        <p:spPr>
          <a:xfrm>
            <a:off x="2892295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05995"/>
            <a:ext cx="2217229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5" name="Text Placeholder 71">
            <a:extLst>
              <a:ext uri="{FF2B5EF4-FFF2-40B4-BE49-F238E27FC236}">
                <a16:creationId xmlns:a16="http://schemas.microsoft.com/office/drawing/2014/main" id="{799F0539-8B24-4E4B-EF4C-121B551D8B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89882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0FE60C61-D20F-0DE2-38DC-62D2FAD3847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6471" y="2567720"/>
            <a:ext cx="2193481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7F661011-0524-7D80-F0B1-7EB66B450AD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806338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52428D8F-1413-2F6F-66F0-EA64E72C6F19}"/>
              </a:ext>
            </a:extLst>
          </p:cNvPr>
          <p:cNvSpPr>
            <a:spLocks noChangeAspect="1"/>
          </p:cNvSpPr>
          <p:nvPr userDrawn="1"/>
        </p:nvSpPr>
        <p:spPr>
          <a:xfrm>
            <a:off x="5108619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 Placeholder 71">
            <a:extLst>
              <a:ext uri="{FF2B5EF4-FFF2-40B4-BE49-F238E27FC236}">
                <a16:creationId xmlns:a16="http://schemas.microsoft.com/office/drawing/2014/main" id="{ED2B6425-619B-AFAF-1CF5-12D51DA095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06206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42048595-A0EA-7BB4-A2D8-622DB0779CAC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22662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E31A4FAF-CCB7-1F56-BEE2-622CF1A54FAB}"/>
              </a:ext>
            </a:extLst>
          </p:cNvPr>
          <p:cNvSpPr>
            <a:spLocks noChangeAspect="1"/>
          </p:cNvSpPr>
          <p:nvPr userDrawn="1"/>
        </p:nvSpPr>
        <p:spPr>
          <a:xfrm>
            <a:off x="7304231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 Placeholder 71">
            <a:extLst>
              <a:ext uri="{FF2B5EF4-FFF2-40B4-BE49-F238E27FC236}">
                <a16:creationId xmlns:a16="http://schemas.microsoft.com/office/drawing/2014/main" id="{AD33553F-FF2E-A084-58B1-CABD32043C6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01818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E55650A2-C067-405B-1B74-AC970B406C5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218274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965D2802-7493-9694-05E4-80CC2EF9B231}"/>
              </a:ext>
            </a:extLst>
          </p:cNvPr>
          <p:cNvSpPr>
            <a:spLocks noChangeAspect="1"/>
          </p:cNvSpPr>
          <p:nvPr userDrawn="1"/>
        </p:nvSpPr>
        <p:spPr>
          <a:xfrm>
            <a:off x="9512554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 Placeholder 71">
            <a:extLst>
              <a:ext uri="{FF2B5EF4-FFF2-40B4-BE49-F238E27FC236}">
                <a16:creationId xmlns:a16="http://schemas.microsoft.com/office/drawing/2014/main" id="{71110D7A-CD1D-2C97-57A0-9A17C8D3134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410141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4E1F3181-D3F3-3AA6-E3A7-A60D86BCE4F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426597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63145927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/Milestones x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id="{B7F29198-E920-459C-2862-C2C7FB6FEB6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220648469"/>
              </p:ext>
            </p:extLst>
          </p:nvPr>
        </p:nvGraphicFramePr>
        <p:xfrm>
          <a:off x="577178" y="2265316"/>
          <a:ext cx="11007612" cy="3618719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1834602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2456329606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2168740535"/>
                    </a:ext>
                  </a:extLst>
                </a:gridCol>
              </a:tblGrid>
              <a:tr h="3618719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65315"/>
            <a:ext cx="11006985" cy="45719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0FE60C61-D20F-0DE2-38DC-62D2FAD3847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7178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178D6D93-FD32-F6AE-2A57-61C348C02B3E}"/>
              </a:ext>
            </a:extLst>
          </p:cNvPr>
          <p:cNvSpPr>
            <a:spLocks noChangeAspect="1"/>
          </p:cNvSpPr>
          <p:nvPr userDrawn="1"/>
        </p:nvSpPr>
        <p:spPr>
          <a:xfrm>
            <a:off x="2515019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Text Placeholder 71">
            <a:extLst>
              <a:ext uri="{FF2B5EF4-FFF2-40B4-BE49-F238E27FC236}">
                <a16:creationId xmlns:a16="http://schemas.microsoft.com/office/drawing/2014/main" id="{21AE5853-8A99-8A93-1D01-2F7FCE23E3D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411179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64" name="Text Placeholder 4">
            <a:extLst>
              <a:ext uri="{FF2B5EF4-FFF2-40B4-BE49-F238E27FC236}">
                <a16:creationId xmlns:a16="http://schemas.microsoft.com/office/drawing/2014/main" id="{1AA430BA-739B-1F40-97FF-53B14467EF8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411180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DC0E5BE5-8378-48E2-C8D1-F22E49536780}"/>
              </a:ext>
            </a:extLst>
          </p:cNvPr>
          <p:cNvSpPr>
            <a:spLocks noChangeAspect="1"/>
          </p:cNvSpPr>
          <p:nvPr userDrawn="1"/>
        </p:nvSpPr>
        <p:spPr>
          <a:xfrm>
            <a:off x="4364033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Text Placeholder 71">
            <a:extLst>
              <a:ext uri="{FF2B5EF4-FFF2-40B4-BE49-F238E27FC236}">
                <a16:creationId xmlns:a16="http://schemas.microsoft.com/office/drawing/2014/main" id="{DDCEF4C9-0B45-4A5E-2D03-31D3672575C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60193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67" name="Text Placeholder 4">
            <a:extLst>
              <a:ext uri="{FF2B5EF4-FFF2-40B4-BE49-F238E27FC236}">
                <a16:creationId xmlns:a16="http://schemas.microsoft.com/office/drawing/2014/main" id="{B994265A-DDDF-4B03-8D82-FB42EFBCBCE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260194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0F31CF81-312F-837D-5714-92C7014354C5}"/>
              </a:ext>
            </a:extLst>
          </p:cNvPr>
          <p:cNvSpPr>
            <a:spLocks noChangeAspect="1"/>
          </p:cNvSpPr>
          <p:nvPr userDrawn="1"/>
        </p:nvSpPr>
        <p:spPr>
          <a:xfrm>
            <a:off x="6199839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Text Placeholder 71">
            <a:extLst>
              <a:ext uri="{FF2B5EF4-FFF2-40B4-BE49-F238E27FC236}">
                <a16:creationId xmlns:a16="http://schemas.microsoft.com/office/drawing/2014/main" id="{62AEAA69-3020-A0FF-5608-7AFD7A5D29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095999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0" name="Text Placeholder 4">
            <a:extLst>
              <a:ext uri="{FF2B5EF4-FFF2-40B4-BE49-F238E27FC236}">
                <a16:creationId xmlns:a16="http://schemas.microsoft.com/office/drawing/2014/main" id="{79626162-0EE9-3BA8-0CDF-67028FE32F18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096000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D4AB8F32-B492-2CD9-826C-E5C5378592C9}"/>
              </a:ext>
            </a:extLst>
          </p:cNvPr>
          <p:cNvSpPr>
            <a:spLocks noChangeAspect="1"/>
          </p:cNvSpPr>
          <p:nvPr userDrawn="1"/>
        </p:nvSpPr>
        <p:spPr>
          <a:xfrm>
            <a:off x="8035644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3F1D7A91-7111-6E5C-279C-1B1D9695082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931804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3" name="Text Placeholder 4">
            <a:extLst>
              <a:ext uri="{FF2B5EF4-FFF2-40B4-BE49-F238E27FC236}">
                <a16:creationId xmlns:a16="http://schemas.microsoft.com/office/drawing/2014/main" id="{0E2562B9-545B-AF00-D9F9-44E167A11B93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7931805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A45C6367-A74F-1C2C-672E-F2E6078D3C68}"/>
              </a:ext>
            </a:extLst>
          </p:cNvPr>
          <p:cNvSpPr>
            <a:spLocks noChangeAspect="1"/>
          </p:cNvSpPr>
          <p:nvPr userDrawn="1"/>
        </p:nvSpPr>
        <p:spPr>
          <a:xfrm>
            <a:off x="9847196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Text Placeholder 71">
            <a:extLst>
              <a:ext uri="{FF2B5EF4-FFF2-40B4-BE49-F238E27FC236}">
                <a16:creationId xmlns:a16="http://schemas.microsoft.com/office/drawing/2014/main" id="{5865903F-F98B-94C0-7563-3A297E41DA2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743356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6" name="Text Placeholder 4">
            <a:extLst>
              <a:ext uri="{FF2B5EF4-FFF2-40B4-BE49-F238E27FC236}">
                <a16:creationId xmlns:a16="http://schemas.microsoft.com/office/drawing/2014/main" id="{CAB912CE-814A-19EE-2402-D55C72FA588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743357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1382768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9" y="3319670"/>
            <a:ext cx="3287436" cy="2593767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2874301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A5AC520F-8595-0F44-99A9-F0873ACA4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2282" y="3319670"/>
            <a:ext cx="3287436" cy="2593767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52282" y="2874301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AD30B9DC-1666-7446-9DFD-F674A273B4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82846" y="3326198"/>
            <a:ext cx="3287436" cy="2593767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C7816D18-C579-DE44-B3B4-5D3819813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846" y="2880829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319B0B18-4860-DA36-3440-4533856C913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624205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BF99AA58-9FC0-03DF-8208-27BED5F44ED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458071" y="1624205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AD148B2F-B493-BFBF-8393-261886DA3EE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382846" y="1624205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740863477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nual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Table 29">
            <a:extLst>
              <a:ext uri="{FF2B5EF4-FFF2-40B4-BE49-F238E27FC236}">
                <a16:creationId xmlns:a16="http://schemas.microsoft.com/office/drawing/2014/main" id="{803BAA2C-9254-B18D-A058-251E52C66E89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106880639"/>
              </p:ext>
            </p:extLst>
          </p:nvPr>
        </p:nvGraphicFramePr>
        <p:xfrm>
          <a:off x="606585" y="2278196"/>
          <a:ext cx="11007612" cy="3618726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917301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227914870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386396939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1442862435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496167856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936398145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3251811526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298212362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1474312375"/>
                    </a:ext>
                  </a:extLst>
                </a:gridCol>
              </a:tblGrid>
              <a:tr h="361872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78195"/>
            <a:ext cx="11036388" cy="45719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tx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47D58FC1-83B9-3BAD-C3EF-06E8D5DE120F}"/>
              </a:ext>
            </a:extLst>
          </p:cNvPr>
          <p:cNvSpPr>
            <a:spLocks noChangeAspect="1"/>
          </p:cNvSpPr>
          <p:nvPr userDrawn="1"/>
        </p:nvSpPr>
        <p:spPr>
          <a:xfrm>
            <a:off x="3460438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9D582DFC-3D0D-D5F8-AA6B-5676C8C4B3BF}"/>
              </a:ext>
            </a:extLst>
          </p:cNvPr>
          <p:cNvSpPr>
            <a:spLocks noChangeAspect="1"/>
          </p:cNvSpPr>
          <p:nvPr userDrawn="1"/>
        </p:nvSpPr>
        <p:spPr>
          <a:xfrm>
            <a:off x="6227970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DF486150-9219-560A-8B4F-FB551F786E68}"/>
              </a:ext>
            </a:extLst>
          </p:cNvPr>
          <p:cNvSpPr>
            <a:spLocks noChangeAspect="1"/>
          </p:cNvSpPr>
          <p:nvPr userDrawn="1"/>
        </p:nvSpPr>
        <p:spPr>
          <a:xfrm>
            <a:off x="8985924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18875"/>
            <a:ext cx="2767426" cy="300442"/>
          </a:xfrm>
        </p:spPr>
        <p:txBody>
          <a:bodyPr lIns="108000" rIns="288000" anchor="b" anchorCtr="0">
            <a:noAutofit/>
          </a:bodyPr>
          <a:lstStyle>
            <a:lvl1pPr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55" name="Text Placeholder 71">
            <a:extLst>
              <a:ext uri="{FF2B5EF4-FFF2-40B4-BE49-F238E27FC236}">
                <a16:creationId xmlns:a16="http://schemas.microsoft.com/office/drawing/2014/main" id="{799F0539-8B24-4E4B-EF4C-121B551D8B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4603" y="1818875"/>
            <a:ext cx="2746295" cy="300442"/>
          </a:xfrm>
        </p:spPr>
        <p:txBody>
          <a:bodyPr lIns="108000" rIns="288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56" name="Text Placeholder 71">
            <a:extLst>
              <a:ext uri="{FF2B5EF4-FFF2-40B4-BE49-F238E27FC236}">
                <a16:creationId xmlns:a16="http://schemas.microsoft.com/office/drawing/2014/main" id="{9DFB2CE5-A177-E72D-3CD4-2646E4DCE50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00141" y="1818875"/>
            <a:ext cx="2745959" cy="300442"/>
          </a:xfrm>
        </p:spPr>
        <p:txBody>
          <a:bodyPr lIns="108000" rIns="288000" anchor="b" anchorCtr="0">
            <a:noAutofit/>
          </a:bodyPr>
          <a:lstStyle>
            <a:lvl1pPr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57" name="Text Placeholder 71">
            <a:extLst>
              <a:ext uri="{FF2B5EF4-FFF2-40B4-BE49-F238E27FC236}">
                <a16:creationId xmlns:a16="http://schemas.microsoft.com/office/drawing/2014/main" id="{7A262EC1-F639-E81C-3343-3DA348DA926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46100" y="1818875"/>
            <a:ext cx="2773719" cy="300442"/>
          </a:xfrm>
        </p:spPr>
        <p:txBody>
          <a:bodyPr lIns="108000" rIns="288000" anchor="b" anchorCtr="0">
            <a:noAutofit/>
          </a:bodyPr>
          <a:lstStyle>
            <a:lvl1pPr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3031F97C-D610-4D45-F78B-D175D9A0E755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485839" y="2583275"/>
            <a:ext cx="8012329" cy="380567"/>
          </a:xfrm>
          <a:prstGeom prst="roundRect">
            <a:avLst>
              <a:gd name="adj" fmla="val 50000"/>
            </a:avLst>
          </a:prstGeom>
          <a:solidFill>
            <a:srgbClr val="E6E6E6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1FF72A2C-EC93-1960-E000-9D1BE3C473D1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718374" y="2588233"/>
            <a:ext cx="2451893" cy="380567"/>
          </a:xfrm>
          <a:prstGeom prst="roundRect">
            <a:avLst>
              <a:gd name="adj" fmla="val 50000"/>
            </a:avLst>
          </a:prstGeom>
          <a:solidFill>
            <a:schemeClr val="bg2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7B3311CB-DC37-BF2B-8E33-872990686A6F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020770" y="3112528"/>
            <a:ext cx="2477398" cy="380567"/>
          </a:xfrm>
          <a:prstGeom prst="roundRect">
            <a:avLst>
              <a:gd name="adj" fmla="val 50000"/>
            </a:avLst>
          </a:prstGeom>
          <a:solidFill>
            <a:schemeClr val="bg2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4C6A5BFA-3D10-182C-1A20-2F9F25DA5EC7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718374" y="3112528"/>
            <a:ext cx="8012329" cy="380567"/>
          </a:xfrm>
          <a:prstGeom prst="roundRect">
            <a:avLst>
              <a:gd name="adj" fmla="val 50000"/>
            </a:avLst>
          </a:prstGeom>
          <a:solidFill>
            <a:srgbClr val="E6E6E6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63D306BC-6AA0-5B15-EAD0-1C4B6C007AE2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718374" y="3636823"/>
            <a:ext cx="10779794" cy="380567"/>
          </a:xfrm>
          <a:prstGeom prst="roundRect">
            <a:avLst>
              <a:gd name="adj" fmla="val 50000"/>
            </a:avLst>
          </a:prstGeom>
          <a:solidFill>
            <a:schemeClr val="tx2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2F279148-11D1-D193-7504-E15A8DBBB7ED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1947773" y="4161117"/>
            <a:ext cx="9537643" cy="380567"/>
          </a:xfrm>
          <a:prstGeom prst="roundRect">
            <a:avLst>
              <a:gd name="adj" fmla="val 50000"/>
            </a:avLst>
          </a:prstGeom>
          <a:solidFill>
            <a:srgbClr val="E6E6E6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B7F7FC01-6091-5D90-D333-FA5671F43B8E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7492654" y="4685411"/>
            <a:ext cx="3986410" cy="380567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9619129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645879FE-583A-DE44-88BA-EB276A69E0F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5"/>
            <a:ext cx="11144930" cy="592778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29D7B8B-35CA-A145-A474-98CA941C8914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515938" y="2081213"/>
            <a:ext cx="11153775" cy="3832225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1507708578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D54A1155-34EB-A04A-AA96-8DCEA2A0B8AF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515938" y="1304925"/>
            <a:ext cx="11160125" cy="4608513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</p:spTree>
    <p:extLst>
      <p:ext uri="{BB962C8B-B14F-4D97-AF65-F5344CB8AC3E}">
        <p14:creationId xmlns:p14="http://schemas.microsoft.com/office/powerpoint/2010/main" val="3519628668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+ Intr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D54A1155-34EB-A04A-AA96-8DCEA2A0B8AF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515938" y="2186941"/>
            <a:ext cx="11160125" cy="3726497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0B67ED7-707C-628A-DD8C-8D05275A882F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531133" y="1304924"/>
            <a:ext cx="11144930" cy="760095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8932406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5F41B758-C970-D84A-B3ED-8A3CB892A83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762750" y="366371"/>
            <a:ext cx="4913313" cy="5547067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</p:spTree>
    <p:extLst>
      <p:ext uri="{BB962C8B-B14F-4D97-AF65-F5344CB8AC3E}">
        <p14:creationId xmlns:p14="http://schemas.microsoft.com/office/powerpoint/2010/main" val="2693642492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Graph + Key 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2951067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5F41B758-C970-D84A-B3ED-8A3CB892A83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762750" y="366371"/>
            <a:ext cx="4913313" cy="5547067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  <p:sp>
        <p:nvSpPr>
          <p:cNvPr id="12" name="Table Placeholder 13">
            <a:extLst>
              <a:ext uri="{FF2B5EF4-FFF2-40B4-BE49-F238E27FC236}">
                <a16:creationId xmlns:a16="http://schemas.microsoft.com/office/drawing/2014/main" id="{0471F0B8-12A0-7A45-8C7A-E02063FE5C87}"/>
              </a:ext>
            </a:extLst>
          </p:cNvPr>
          <p:cNvSpPr>
            <a:spLocks noGrp="1"/>
          </p:cNvSpPr>
          <p:nvPr>
            <p:ph type="tbl" sz="quarter" idx="16" hasCustomPrompt="1"/>
          </p:nvPr>
        </p:nvSpPr>
        <p:spPr>
          <a:xfrm>
            <a:off x="531813" y="4531663"/>
            <a:ext cx="5564187" cy="1381775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here to insert table of key statistics</a:t>
            </a:r>
          </a:p>
        </p:txBody>
      </p:sp>
    </p:spTree>
    <p:extLst>
      <p:ext uri="{BB962C8B-B14F-4D97-AF65-F5344CB8AC3E}">
        <p14:creationId xmlns:p14="http://schemas.microsoft.com/office/powerpoint/2010/main" val="1953697098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F7144900-27CB-F8C8-8750-EBFD50556D3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5937" y="1738603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BA371966-686F-3873-1B61-8D4F2F1781A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409056" y="1738603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71BA048F-6972-4609-34F2-EF8FDBBDBB0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34278" y="1915486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224FF60B-6BD0-9B1E-2959-11D6263640A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15937" y="3998564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2DB6CCCB-718D-70C8-7A09-2EE0D7144525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409056" y="3998564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6878B28-F503-455B-0FEA-80DE7090542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34278" y="4175447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AAADD6C4-F1D9-F92B-C5FD-4B4DA8B17CF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2333196" y="1915486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A5E09E69-6CAD-B355-9823-320AB8FAE66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333196" y="4175447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49845375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x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Picture Placeholder 9">
            <a:extLst>
              <a:ext uri="{FF2B5EF4-FFF2-40B4-BE49-F238E27FC236}">
                <a16:creationId xmlns:a16="http://schemas.microsoft.com/office/drawing/2014/main" id="{9DD9632F-ADC6-0F07-8F3F-62F1AF846E1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5938" y="1711994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A6BDD17B-1F38-C02C-FBE9-A0D8E16AB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99411" y="1711994"/>
            <a:ext cx="2116757" cy="987159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4" name="Picture Placeholder 9">
            <a:extLst>
              <a:ext uri="{FF2B5EF4-FFF2-40B4-BE49-F238E27FC236}">
                <a16:creationId xmlns:a16="http://schemas.microsoft.com/office/drawing/2014/main" id="{25EC710C-2932-CFFF-F55D-955597F0FB3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335796" y="1711994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247CB122-DF3E-CDA7-027B-26E525434AE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527232" y="1711994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Picture Placeholder 9">
            <a:extLst>
              <a:ext uri="{FF2B5EF4-FFF2-40B4-BE49-F238E27FC236}">
                <a16:creationId xmlns:a16="http://schemas.microsoft.com/office/drawing/2014/main" id="{27971BF0-784D-F3CF-2C6F-CA518054204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220024" y="1711994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1" name="Text Placeholder 15">
            <a:extLst>
              <a:ext uri="{FF2B5EF4-FFF2-40B4-BE49-F238E27FC236}">
                <a16:creationId xmlns:a16="http://schemas.microsoft.com/office/drawing/2014/main" id="{0B2CA69D-267F-C90D-4248-B4C35F26DF7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411460" y="1711994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2" name="Picture Placeholder 9">
            <a:extLst>
              <a:ext uri="{FF2B5EF4-FFF2-40B4-BE49-F238E27FC236}">
                <a16:creationId xmlns:a16="http://schemas.microsoft.com/office/drawing/2014/main" id="{5897A2C1-9865-7BB8-2197-358370EFD4AC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15938" y="3155667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3" name="Text Placeholder 15">
            <a:extLst>
              <a:ext uri="{FF2B5EF4-FFF2-40B4-BE49-F238E27FC236}">
                <a16:creationId xmlns:a16="http://schemas.microsoft.com/office/drawing/2014/main" id="{62920B1E-EBA9-626D-6305-A1ADAE904D1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699411" y="3155667"/>
            <a:ext cx="2116757" cy="987159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4" name="Picture Placeholder 9">
            <a:extLst>
              <a:ext uri="{FF2B5EF4-FFF2-40B4-BE49-F238E27FC236}">
                <a16:creationId xmlns:a16="http://schemas.microsoft.com/office/drawing/2014/main" id="{544F1E77-8814-8A3B-D86A-076D4023ACA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335796" y="3155667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5" name="Text Placeholder 15">
            <a:extLst>
              <a:ext uri="{FF2B5EF4-FFF2-40B4-BE49-F238E27FC236}">
                <a16:creationId xmlns:a16="http://schemas.microsoft.com/office/drawing/2014/main" id="{C7619CC2-0DAA-26FC-AEAA-30394D48883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527232" y="3155667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6" name="Picture Placeholder 9">
            <a:extLst>
              <a:ext uri="{FF2B5EF4-FFF2-40B4-BE49-F238E27FC236}">
                <a16:creationId xmlns:a16="http://schemas.microsoft.com/office/drawing/2014/main" id="{8FAFCD1B-5A84-929A-D622-CC609C41B001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8220024" y="3155667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7" name="Text Placeholder 15">
            <a:extLst>
              <a:ext uri="{FF2B5EF4-FFF2-40B4-BE49-F238E27FC236}">
                <a16:creationId xmlns:a16="http://schemas.microsoft.com/office/drawing/2014/main" id="{32DEC219-4AAE-290C-5636-F2670570011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411460" y="3155667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8" name="Picture Placeholder 9">
            <a:extLst>
              <a:ext uri="{FF2B5EF4-FFF2-40B4-BE49-F238E27FC236}">
                <a16:creationId xmlns:a16="http://schemas.microsoft.com/office/drawing/2014/main" id="{B2CF404E-74E2-7F8B-678B-6E7F764D9BF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15938" y="4599456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9" name="Text Placeholder 15">
            <a:extLst>
              <a:ext uri="{FF2B5EF4-FFF2-40B4-BE49-F238E27FC236}">
                <a16:creationId xmlns:a16="http://schemas.microsoft.com/office/drawing/2014/main" id="{494146F5-9D36-2EF7-388E-A72B6DA0D9B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699411" y="4599456"/>
            <a:ext cx="2116757" cy="987159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Picture Placeholder 9">
            <a:extLst>
              <a:ext uri="{FF2B5EF4-FFF2-40B4-BE49-F238E27FC236}">
                <a16:creationId xmlns:a16="http://schemas.microsoft.com/office/drawing/2014/main" id="{B71BEAAD-C8C5-6988-5CBE-F7E30241059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4335796" y="4599456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1" name="Text Placeholder 15">
            <a:extLst>
              <a:ext uri="{FF2B5EF4-FFF2-40B4-BE49-F238E27FC236}">
                <a16:creationId xmlns:a16="http://schemas.microsoft.com/office/drawing/2014/main" id="{138E6919-019E-02BB-5D0D-FF9C12142411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27232" y="4599456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Picture Placeholder 9">
            <a:extLst>
              <a:ext uri="{FF2B5EF4-FFF2-40B4-BE49-F238E27FC236}">
                <a16:creationId xmlns:a16="http://schemas.microsoft.com/office/drawing/2014/main" id="{50AEE6D7-E551-8465-B986-00D61EB9730A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8220024" y="4599456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3" name="Text Placeholder 15">
            <a:extLst>
              <a:ext uri="{FF2B5EF4-FFF2-40B4-BE49-F238E27FC236}">
                <a16:creationId xmlns:a16="http://schemas.microsoft.com/office/drawing/2014/main" id="{EABA07AD-B083-3DC8-2E9C-6607785D0D9F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411460" y="4599456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65448965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x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Picture Placeholder 9">
            <a:extLst>
              <a:ext uri="{FF2B5EF4-FFF2-40B4-BE49-F238E27FC236}">
                <a16:creationId xmlns:a16="http://schemas.microsoft.com/office/drawing/2014/main" id="{9DD9632F-ADC6-0F07-8F3F-62F1AF846E1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5939" y="1711995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A6BDD17B-1F38-C02C-FBE9-A0D8E16AB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596367" y="1711995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9" name="Picture Placeholder 9">
            <a:extLst>
              <a:ext uri="{FF2B5EF4-FFF2-40B4-BE49-F238E27FC236}">
                <a16:creationId xmlns:a16="http://schemas.microsoft.com/office/drawing/2014/main" id="{0A36E1BF-5D7A-3667-C65B-2DB32E2BD388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515939" y="2786398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4" name="Text Placeholder 15">
            <a:extLst>
              <a:ext uri="{FF2B5EF4-FFF2-40B4-BE49-F238E27FC236}">
                <a16:creationId xmlns:a16="http://schemas.microsoft.com/office/drawing/2014/main" id="{A3EF6248-9648-B0CE-3E04-C8F8A63036EA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596367" y="2791091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Picture Placeholder 9">
            <a:extLst>
              <a:ext uri="{FF2B5EF4-FFF2-40B4-BE49-F238E27FC236}">
                <a16:creationId xmlns:a16="http://schemas.microsoft.com/office/drawing/2014/main" id="{C5444EBA-19D0-8678-BDDD-147CE44BC1E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515939" y="3870187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6" name="Text Placeholder 15">
            <a:extLst>
              <a:ext uri="{FF2B5EF4-FFF2-40B4-BE49-F238E27FC236}">
                <a16:creationId xmlns:a16="http://schemas.microsoft.com/office/drawing/2014/main" id="{7D5C4711-97F4-DDD0-D960-DEDF44E5F474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596367" y="3870187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7" name="Picture Placeholder 9">
            <a:extLst>
              <a:ext uri="{FF2B5EF4-FFF2-40B4-BE49-F238E27FC236}">
                <a16:creationId xmlns:a16="http://schemas.microsoft.com/office/drawing/2014/main" id="{E65DD9AF-BC5A-0D6D-203A-19C299826DFB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515939" y="4949284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8" name="Text Placeholder 15">
            <a:extLst>
              <a:ext uri="{FF2B5EF4-FFF2-40B4-BE49-F238E27FC236}">
                <a16:creationId xmlns:a16="http://schemas.microsoft.com/office/drawing/2014/main" id="{50F33994-9EA1-2A51-A537-50F4FB57B23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1596367" y="4949284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9" name="Picture Placeholder 9">
            <a:extLst>
              <a:ext uri="{FF2B5EF4-FFF2-40B4-BE49-F238E27FC236}">
                <a16:creationId xmlns:a16="http://schemas.microsoft.com/office/drawing/2014/main" id="{F4BC789A-02DE-1B25-C17D-56031BFFAC79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357530" y="1711995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0" name="Text Placeholder 15">
            <a:extLst>
              <a:ext uri="{FF2B5EF4-FFF2-40B4-BE49-F238E27FC236}">
                <a16:creationId xmlns:a16="http://schemas.microsoft.com/office/drawing/2014/main" id="{397D8B8C-1AD2-D2A1-C4BA-DC06F2B6EF69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5437958" y="1711995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1" name="Picture Placeholder 9">
            <a:extLst>
              <a:ext uri="{FF2B5EF4-FFF2-40B4-BE49-F238E27FC236}">
                <a16:creationId xmlns:a16="http://schemas.microsoft.com/office/drawing/2014/main" id="{96F24F90-0E84-D6E6-53DE-5CA754BCC220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4357530" y="2786398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2" name="Text Placeholder 15">
            <a:extLst>
              <a:ext uri="{FF2B5EF4-FFF2-40B4-BE49-F238E27FC236}">
                <a16:creationId xmlns:a16="http://schemas.microsoft.com/office/drawing/2014/main" id="{FEE53D37-03B9-FEA3-D9B3-377C5ACE8FBB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5437958" y="2791091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3" name="Picture Placeholder 9">
            <a:extLst>
              <a:ext uri="{FF2B5EF4-FFF2-40B4-BE49-F238E27FC236}">
                <a16:creationId xmlns:a16="http://schemas.microsoft.com/office/drawing/2014/main" id="{D91880C0-5866-3A2D-E9A1-293A080C3CBC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4357530" y="3870187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4" name="Text Placeholder 15">
            <a:extLst>
              <a:ext uri="{FF2B5EF4-FFF2-40B4-BE49-F238E27FC236}">
                <a16:creationId xmlns:a16="http://schemas.microsoft.com/office/drawing/2014/main" id="{68479F4A-C40B-C6DF-03E8-C507FF3D4573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5437958" y="3870187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5" name="Picture Placeholder 9">
            <a:extLst>
              <a:ext uri="{FF2B5EF4-FFF2-40B4-BE49-F238E27FC236}">
                <a16:creationId xmlns:a16="http://schemas.microsoft.com/office/drawing/2014/main" id="{C62DBBD6-D33E-DF74-5AE8-96D1913C8C20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4357530" y="4949284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6" name="Text Placeholder 15">
            <a:extLst>
              <a:ext uri="{FF2B5EF4-FFF2-40B4-BE49-F238E27FC236}">
                <a16:creationId xmlns:a16="http://schemas.microsoft.com/office/drawing/2014/main" id="{05529239-A4B5-258D-03F5-01D3ADFE8873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5437958" y="4949284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7" name="Picture Placeholder 9">
            <a:extLst>
              <a:ext uri="{FF2B5EF4-FFF2-40B4-BE49-F238E27FC236}">
                <a16:creationId xmlns:a16="http://schemas.microsoft.com/office/drawing/2014/main" id="{114AD459-859C-6C0F-FB75-4B02606E57BB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8199122" y="1711995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8" name="Text Placeholder 15">
            <a:extLst>
              <a:ext uri="{FF2B5EF4-FFF2-40B4-BE49-F238E27FC236}">
                <a16:creationId xmlns:a16="http://schemas.microsoft.com/office/drawing/2014/main" id="{4EAF0426-CCDA-221A-38EC-BBD417EBF569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9279550" y="1711995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9" name="Picture Placeholder 9">
            <a:extLst>
              <a:ext uri="{FF2B5EF4-FFF2-40B4-BE49-F238E27FC236}">
                <a16:creationId xmlns:a16="http://schemas.microsoft.com/office/drawing/2014/main" id="{EF2E7661-7F3A-851E-C60B-815DA8CE2A18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8199122" y="2786398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70" name="Text Placeholder 15">
            <a:extLst>
              <a:ext uri="{FF2B5EF4-FFF2-40B4-BE49-F238E27FC236}">
                <a16:creationId xmlns:a16="http://schemas.microsoft.com/office/drawing/2014/main" id="{8748A2D7-29EB-EEF8-E6A5-383DA278969D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9279550" y="2791091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1" name="Picture Placeholder 9">
            <a:extLst>
              <a:ext uri="{FF2B5EF4-FFF2-40B4-BE49-F238E27FC236}">
                <a16:creationId xmlns:a16="http://schemas.microsoft.com/office/drawing/2014/main" id="{E88761E4-7653-636A-0723-500AE4782BC6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8199122" y="3870187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72" name="Text Placeholder 15">
            <a:extLst>
              <a:ext uri="{FF2B5EF4-FFF2-40B4-BE49-F238E27FC236}">
                <a16:creationId xmlns:a16="http://schemas.microsoft.com/office/drawing/2014/main" id="{B10E2844-BD47-9C07-357D-9EA651BBCA67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9279550" y="3870187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3" name="Picture Placeholder 9">
            <a:extLst>
              <a:ext uri="{FF2B5EF4-FFF2-40B4-BE49-F238E27FC236}">
                <a16:creationId xmlns:a16="http://schemas.microsoft.com/office/drawing/2014/main" id="{310F2473-00CD-C33D-50C3-3F40271F3927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8199122" y="4949284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74" name="Text Placeholder 15">
            <a:extLst>
              <a:ext uri="{FF2B5EF4-FFF2-40B4-BE49-F238E27FC236}">
                <a16:creationId xmlns:a16="http://schemas.microsoft.com/office/drawing/2014/main" id="{789611C4-8E98-E2CF-35EB-922860C66E00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9279550" y="4949284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72397300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81187F35-DC43-A850-FE4F-7D60E8ED7A9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360000">
            <a:normAutofit/>
          </a:bodyPr>
          <a:lstStyle>
            <a:lvl1pPr marL="457200" indent="-457200">
              <a:spcBef>
                <a:spcPts val="1800"/>
              </a:spcBef>
              <a:spcAft>
                <a:spcPts val="600"/>
              </a:spcAft>
              <a:buClr>
                <a:schemeClr val="bg2"/>
              </a:buClr>
              <a:buFont typeface="+mj-lt"/>
              <a:buAutoNum type="arabicPeriod"/>
              <a:defRPr sz="2400" b="1">
                <a:solidFill>
                  <a:schemeClr val="tx2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2000" b="1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2000" b="1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800" b="1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1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7296789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78B95D78-F57A-6D40-A841-7D1E3B0827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8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8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7" name="Picture Placeholder 3">
            <a:extLst>
              <a:ext uri="{FF2B5EF4-FFF2-40B4-BE49-F238E27FC236}">
                <a16:creationId xmlns:a16="http://schemas.microsoft.com/office/drawing/2014/main" id="{F48D299A-6257-AC74-0FD7-6D22E29A5C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87491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9E3D1709-B9E8-6689-9456-9D1A08D7BAA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87491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C714C56E-261C-2C43-2BCC-4B86E64EE01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87491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Picture Placeholder 3">
            <a:extLst>
              <a:ext uri="{FF2B5EF4-FFF2-40B4-BE49-F238E27FC236}">
                <a16:creationId xmlns:a16="http://schemas.microsoft.com/office/drawing/2014/main" id="{7BD682FD-9976-0C80-A887-A4D6D2E292B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59044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A9A5BE6C-6EDB-FAB6-4644-C243D0C501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59044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CB0F2787-5A74-A6DE-F13C-3D79E01FA60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59044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201E793D-C775-4026-041E-34664EC7CB2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130597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804BD5F4-CAC4-3B9A-26F3-C0C1833171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30598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B233CA27-29C3-9FC3-D859-9E09C4A5F85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130598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7828547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6275323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6275323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81187F35-DC43-A850-FE4F-7D60E8ED7A9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5376371" cy="4204608"/>
          </a:xfrm>
        </p:spPr>
        <p:txBody>
          <a:bodyPr numCol="1" spcCol="360000">
            <a:normAutofit/>
          </a:bodyPr>
          <a:lstStyle>
            <a:lvl1pPr marL="457200" indent="-45720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+mj-lt"/>
              <a:buAutoNum type="arabicPeriod"/>
              <a:defRPr sz="2400" b="1">
                <a:solidFill>
                  <a:schemeClr val="tx2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2000" b="1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2000" b="1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800" b="1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1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1F8B0E5-465B-1592-BFB3-5F01C3B0E690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132637" y="1708830"/>
            <a:ext cx="664405" cy="4204608"/>
          </a:xfrm>
        </p:spPr>
        <p:txBody>
          <a:bodyPr numCol="1" spcCol="360000">
            <a:normAutofit/>
          </a:bodyPr>
          <a:lstStyle>
            <a:lvl1pPr marL="0" indent="0" algn="r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+mj-lt"/>
              <a:buNone/>
              <a:defRPr sz="2400" b="0">
                <a:solidFill>
                  <a:schemeClr val="tx2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2000" b="1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2000" b="1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800" b="1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1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X</a:t>
            </a:r>
          </a:p>
          <a:p>
            <a:pPr lvl="0"/>
            <a:endParaRPr lang="en-GB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EA8C7E29-42A4-2542-6547-ACCD8C92B2B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7368539" y="366371"/>
            <a:ext cx="4307523" cy="5530549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822898195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5199409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7047820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347312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– Dark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B746B08-255A-2748-8A21-40BE94A17FD1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9109825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Key Stat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9290FAF2-2869-2B9B-5880-4EE57045BC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828" y="1249683"/>
            <a:ext cx="11208352" cy="2690816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r>
              <a:rPr lang="en-GB"/>
              <a:t>XXXXXX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0F9BA01A-4636-2441-F8D0-2E265BF7D8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B746B08-255A-2748-8A21-40BE94A17FD1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C751308-8682-E296-A343-1719555B3C95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A1AFB23D-B299-93C8-2304-575B5ED936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GB"/>
              <a:t>Technical Annex</a:t>
            </a:r>
          </a:p>
        </p:txBody>
      </p:sp>
      <p:pic>
        <p:nvPicPr>
          <p:cNvPr id="15" name="Picture 11">
            <a:extLst>
              <a:ext uri="{FF2B5EF4-FFF2-40B4-BE49-F238E27FC236}">
                <a16:creationId xmlns:a16="http://schemas.microsoft.com/office/drawing/2014/main" id="{A4BBC3E9-F3A2-C188-5A3A-9D714331C86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64AB32E5-85C1-B8E6-505F-2580C9B2E9E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6" y="4053840"/>
            <a:ext cx="6364924" cy="1668779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75146575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TIT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672000" y="1603200"/>
            <a:ext cx="10848000" cy="41904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241522939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3453377" cy="6858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672000" y="1037167"/>
            <a:ext cx="7368533" cy="1646864"/>
          </a:xfrm>
        </p:spPr>
        <p:txBody>
          <a:bodyPr/>
          <a:lstStyle/>
          <a:p>
            <a:r>
              <a:rPr lang="en-GB" noProof="0"/>
              <a:t>TITLE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672000" y="2902572"/>
            <a:ext cx="7368533" cy="2903445"/>
          </a:xfrm>
        </p:spPr>
        <p:txBody>
          <a:bodyPr/>
          <a:lstStyle/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14" name="Espace réservé du texte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0" y="1"/>
            <a:ext cx="2495211" cy="4990431"/>
          </a:xfrm>
        </p:spPr>
        <p:txBody>
          <a:bodyPr/>
          <a:lstStyle>
            <a:lvl1pPr algn="r">
              <a:defRPr sz="22133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0</a:t>
            </a:r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/>
          </a:p>
        </p:txBody>
      </p:sp>
      <p:sp>
        <p:nvSpPr>
          <p:cNvPr id="16" name="Rectangle 15"/>
          <p:cNvSpPr/>
          <p:nvPr userDrawn="1"/>
        </p:nvSpPr>
        <p:spPr bwMode="gray">
          <a:xfrm>
            <a:off x="3672000" y="2777245"/>
            <a:ext cx="1344000" cy="25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/>
          </a:p>
        </p:txBody>
      </p:sp>
    </p:spTree>
    <p:extLst>
      <p:ext uri="{BB962C8B-B14F-4D97-AF65-F5344CB8AC3E}">
        <p14:creationId xmlns:p14="http://schemas.microsoft.com/office/powerpoint/2010/main" val="3057520047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ocks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TITLE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/>
          </a:p>
        </p:txBody>
      </p:sp>
      <p:sp>
        <p:nvSpPr>
          <p:cNvPr id="21" name="Espace réservé du texte 9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72000" y="1651200"/>
            <a:ext cx="4896000" cy="335715"/>
          </a:xfrm>
          <a:solidFill>
            <a:schemeClr val="accent2"/>
          </a:solidFill>
          <a:ln w="9525">
            <a:solidFill>
              <a:schemeClr val="bg2"/>
            </a:solidFill>
          </a:ln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Text level 1</a:t>
            </a:r>
          </a:p>
        </p:txBody>
      </p:sp>
      <p:sp>
        <p:nvSpPr>
          <p:cNvPr id="22" name="Espace réservé du texte 9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72000" y="1985432"/>
            <a:ext cx="4896000" cy="3561600"/>
          </a:xfrm>
          <a:ln w="9525">
            <a:solidFill>
              <a:schemeClr val="bg2"/>
            </a:solidFill>
          </a:ln>
        </p:spPr>
        <p:txBody>
          <a:bodyPr tIns="72000"/>
          <a:lstStyle>
            <a:lvl1pPr marL="431989" indent="-239994">
              <a:lnSpc>
                <a:spcPct val="100000"/>
              </a:lnSpc>
              <a:spcBef>
                <a:spcPts val="400"/>
              </a:spcBef>
              <a:buClr>
                <a:schemeClr val="accent3"/>
              </a:buClr>
              <a:buFont typeface="Arial" pitchFamily="34" charset="0"/>
              <a:buChar char="•"/>
              <a:defRPr sz="2400">
                <a:solidFill>
                  <a:schemeClr val="tx1"/>
                </a:solidFill>
              </a:defRPr>
            </a:lvl1pPr>
            <a:lvl2pPr marL="671983">
              <a:buClr>
                <a:schemeClr val="tx1"/>
              </a:buClr>
              <a:defRPr sz="2133" b="0"/>
            </a:lvl2pPr>
            <a:lvl3pPr indent="0">
              <a:buNone/>
              <a:defRPr/>
            </a:lvl3pPr>
            <a:lvl4pPr marL="911977" indent="-239994">
              <a:buClr>
                <a:schemeClr val="tx1"/>
              </a:buClr>
              <a:buFont typeface="Arial" pitchFamily="34" charset="0"/>
              <a:buChar char="•"/>
              <a:defRPr sz="1867"/>
            </a:lvl4pPr>
          </a:lstStyle>
          <a:p>
            <a:pPr lvl="0"/>
            <a:r>
              <a:rPr lang="en-GB" noProof="0"/>
              <a:t>Text level 2</a:t>
            </a:r>
          </a:p>
          <a:p>
            <a:pPr lvl="1"/>
            <a:r>
              <a:rPr lang="en-GB" noProof="0"/>
              <a:t>Text level 3</a:t>
            </a:r>
          </a:p>
          <a:p>
            <a:pPr lvl="2"/>
            <a:r>
              <a:rPr lang="en-GB" noProof="0"/>
              <a:t>Text level 4</a:t>
            </a:r>
          </a:p>
          <a:p>
            <a:pPr lvl="3"/>
            <a:r>
              <a:rPr lang="en-GB" noProof="0"/>
              <a:t>Text level 5</a:t>
            </a:r>
          </a:p>
        </p:txBody>
      </p:sp>
      <p:sp>
        <p:nvSpPr>
          <p:cNvPr id="23" name="Espace réservé du texte 9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096795" y="1651200"/>
            <a:ext cx="4896000" cy="335715"/>
          </a:xfrm>
          <a:solidFill>
            <a:schemeClr val="accent2"/>
          </a:solidFill>
          <a:ln w="9525">
            <a:solidFill>
              <a:schemeClr val="bg2"/>
            </a:solidFill>
          </a:ln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Text level 1</a:t>
            </a:r>
          </a:p>
        </p:txBody>
      </p:sp>
      <p:sp>
        <p:nvSpPr>
          <p:cNvPr id="24" name="Espace réservé du texte 9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096795" y="1985432"/>
            <a:ext cx="4896000" cy="3561600"/>
          </a:xfrm>
          <a:ln w="9525">
            <a:solidFill>
              <a:schemeClr val="bg2"/>
            </a:solidFill>
          </a:ln>
        </p:spPr>
        <p:txBody>
          <a:bodyPr tIns="72000"/>
          <a:lstStyle>
            <a:lvl1pPr marL="431989" indent="-239994">
              <a:lnSpc>
                <a:spcPct val="100000"/>
              </a:lnSpc>
              <a:spcBef>
                <a:spcPts val="400"/>
              </a:spcBef>
              <a:buClr>
                <a:schemeClr val="accent3"/>
              </a:buClr>
              <a:buFont typeface="Arial" pitchFamily="34" charset="0"/>
              <a:buChar char="•"/>
              <a:defRPr sz="2400">
                <a:solidFill>
                  <a:schemeClr val="tx1"/>
                </a:solidFill>
              </a:defRPr>
            </a:lvl1pPr>
            <a:lvl2pPr marL="671983">
              <a:buClr>
                <a:schemeClr val="tx1"/>
              </a:buClr>
              <a:defRPr sz="2133" b="0"/>
            </a:lvl2pPr>
            <a:lvl3pPr indent="0">
              <a:buNone/>
              <a:defRPr/>
            </a:lvl3pPr>
            <a:lvl4pPr marL="911977" indent="-239994">
              <a:buClr>
                <a:schemeClr val="tx1"/>
              </a:buClr>
              <a:buFont typeface="Arial" pitchFamily="34" charset="0"/>
              <a:buChar char="•"/>
              <a:defRPr sz="1867"/>
            </a:lvl4pPr>
          </a:lstStyle>
          <a:p>
            <a:pPr lvl="0"/>
            <a:r>
              <a:rPr lang="en-GB" noProof="0"/>
              <a:t>Text level 2</a:t>
            </a:r>
          </a:p>
          <a:p>
            <a:pPr lvl="1"/>
            <a:r>
              <a:rPr lang="en-GB" noProof="0"/>
              <a:t>Text level 3</a:t>
            </a:r>
          </a:p>
          <a:p>
            <a:pPr lvl="2"/>
            <a:r>
              <a:rPr lang="en-GB" noProof="0"/>
              <a:t>Text level 4</a:t>
            </a:r>
          </a:p>
          <a:p>
            <a:pPr lvl="3"/>
            <a:r>
              <a:rPr lang="en-GB" noProof="0"/>
              <a:t>Text level 5</a:t>
            </a:r>
          </a:p>
        </p:txBody>
      </p:sp>
    </p:spTree>
    <p:extLst>
      <p:ext uri="{BB962C8B-B14F-4D97-AF65-F5344CB8AC3E}">
        <p14:creationId xmlns:p14="http://schemas.microsoft.com/office/powerpoint/2010/main" val="2567494007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TITLE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/>
          </a:p>
        </p:txBody>
      </p:sp>
      <p:sp>
        <p:nvSpPr>
          <p:cNvPr id="12" name="Espace réservé pour une image 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672000" y="1603201"/>
            <a:ext cx="10848000" cy="4156800"/>
          </a:xfrm>
        </p:spPr>
        <p:txBody>
          <a:bodyPr tIns="1008000" anchor="ctr" anchorCtr="0"/>
          <a:lstStyle>
            <a:lvl1pPr algn="ctr">
              <a:defRPr/>
            </a:lvl1pPr>
          </a:lstStyle>
          <a:p>
            <a:r>
              <a:rPr lang="en-GB" noProof="0"/>
              <a:t>Select your own photo</a:t>
            </a:r>
          </a:p>
        </p:txBody>
      </p:sp>
    </p:spTree>
    <p:extLst>
      <p:ext uri="{BB962C8B-B14F-4D97-AF65-F5344CB8AC3E}">
        <p14:creationId xmlns:p14="http://schemas.microsoft.com/office/powerpoint/2010/main" val="382757842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78B95D78-F57A-6D40-A841-7D1E3B0827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7" name="Picture Placeholder 3">
            <a:extLst>
              <a:ext uri="{FF2B5EF4-FFF2-40B4-BE49-F238E27FC236}">
                <a16:creationId xmlns:a16="http://schemas.microsoft.com/office/drawing/2014/main" id="{F48D299A-6257-AC74-0FD7-6D22E29A5C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80268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9E3D1709-B9E8-6689-9456-9D1A08D7BAA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80268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C714C56E-261C-2C43-2BCC-4B86E64EE01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0268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Picture Placeholder 3">
            <a:extLst>
              <a:ext uri="{FF2B5EF4-FFF2-40B4-BE49-F238E27FC236}">
                <a16:creationId xmlns:a16="http://schemas.microsoft.com/office/drawing/2014/main" id="{7BD682FD-9976-0C80-A887-A4D6D2E292B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08943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A9A5BE6C-6EDB-FAB6-4644-C243D0C501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8943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CB0F2787-5A74-A6DE-F13C-3D79E01FA60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8943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201E793D-C775-4026-041E-34664EC7CB2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37618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804BD5F4-CAC4-3B9A-26F3-C0C1833171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37618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B233CA27-29C3-9FC3-D859-9E09C4A5F85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37618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6" name="Picture Placeholder 3">
            <a:extLst>
              <a:ext uri="{FF2B5EF4-FFF2-40B4-BE49-F238E27FC236}">
                <a16:creationId xmlns:a16="http://schemas.microsoft.com/office/drawing/2014/main" id="{8B57295D-E6CF-D31C-B144-FCA5CB14DF6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66293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7" name="Text Placeholder 6">
            <a:extLst>
              <a:ext uri="{FF2B5EF4-FFF2-40B4-BE49-F238E27FC236}">
                <a16:creationId xmlns:a16="http://schemas.microsoft.com/office/drawing/2014/main" id="{AD0246CA-EA99-001F-02B9-8BA52DCE733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662940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8" name="Text Placeholder 6">
            <a:extLst>
              <a:ext uri="{FF2B5EF4-FFF2-40B4-BE49-F238E27FC236}">
                <a16:creationId xmlns:a16="http://schemas.microsoft.com/office/drawing/2014/main" id="{3D355FF6-773D-9D18-B07A-AFAED992F8C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9662940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1722478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Pictur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 2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5161280"/>
          </a:xfrm>
          <a:prstGeom prst="rect">
            <a:avLst/>
          </a:prstGeom>
        </p:spPr>
      </p:pic>
      <p:pic>
        <p:nvPicPr>
          <p:cNvPr id="23" name="Image 22" descr="Bas_couv.png"/>
          <p:cNvPicPr>
            <a:picLocks noChangeAspect="1"/>
          </p:cNvPicPr>
          <p:nvPr userDrawn="1"/>
        </p:nvPicPr>
        <p:blipFill>
          <a:blip r:embed="rId3" cstate="print"/>
          <a:srcRect r="60243" b="722"/>
          <a:stretch>
            <a:fillRect/>
          </a:stretch>
        </p:blipFill>
        <p:spPr bwMode="gray">
          <a:xfrm>
            <a:off x="251520" y="5213040"/>
            <a:ext cx="3416493" cy="1584000"/>
          </a:xfrm>
          <a:prstGeom prst="rect">
            <a:avLst/>
          </a:prstGeom>
        </p:spPr>
      </p:pic>
      <p:sp>
        <p:nvSpPr>
          <p:cNvPr id="22" name="Rectangle 21"/>
          <p:cNvSpPr/>
          <p:nvPr userDrawn="1"/>
        </p:nvSpPr>
        <p:spPr bwMode="gray">
          <a:xfrm>
            <a:off x="4847169" y="5265205"/>
            <a:ext cx="7344833" cy="15927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72000" y="974400"/>
            <a:ext cx="6384000" cy="2232000"/>
          </a:xfrm>
        </p:spPr>
        <p:txBody>
          <a:bodyPr anchor="b" anchorCtr="0"/>
          <a:lstStyle>
            <a:lvl1pPr marL="0" indent="0" algn="l">
              <a:lnSpc>
                <a:spcPct val="90000"/>
              </a:lnSpc>
              <a:buNone/>
              <a:defRPr sz="3733" b="1" cap="none" baseline="0">
                <a:solidFill>
                  <a:schemeClr val="bg1"/>
                </a:solidFill>
              </a:defRPr>
            </a:lvl1pPr>
            <a:lvl2pPr marL="0" algn="ctr">
              <a:lnSpc>
                <a:spcPct val="100000"/>
              </a:lnSpc>
              <a:spcBef>
                <a:spcPts val="9200"/>
              </a:spcBef>
              <a:defRPr sz="2667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GB" noProof="0"/>
              <a:t>TITLE</a:t>
            </a:r>
          </a:p>
        </p:txBody>
      </p:sp>
      <p:sp>
        <p:nvSpPr>
          <p:cNvPr id="8" name="Espace réservé du texte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72000" y="3585600"/>
            <a:ext cx="6384000" cy="1479600"/>
          </a:xfrm>
        </p:spPr>
        <p:txBody>
          <a:bodyPr anchor="t" anchorCtr="0"/>
          <a:lstStyle>
            <a:lvl1pPr marL="0" indent="0" algn="l">
              <a:lnSpc>
                <a:spcPct val="90000"/>
              </a:lnSpc>
              <a:buNone/>
              <a:defRPr sz="2667" b="0" baseline="0">
                <a:solidFill>
                  <a:schemeClr val="bg1"/>
                </a:solidFill>
              </a:defRPr>
            </a:lvl1pPr>
            <a:lvl2pPr marL="0" algn="ctr">
              <a:lnSpc>
                <a:spcPct val="100000"/>
              </a:lnSpc>
              <a:spcBef>
                <a:spcPts val="9200"/>
              </a:spcBef>
              <a:defRPr sz="2667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GB" noProof="0"/>
              <a:t>SUBTITLE</a:t>
            </a: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 sz="133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algn="l"/>
            <a:r>
              <a:rPr lang="en-GB" noProof="0"/>
              <a:t>Page: </a:t>
            </a:r>
            <a:fld id="{733122C9-A0B9-462F-8757-0847AD287B63}" type="slidenum">
              <a:rPr lang="en-GB" noProof="0" smtClean="0"/>
              <a:pPr algn="l"/>
              <a:t>‹#›</a:t>
            </a:fld>
            <a:endParaRPr lang="en-GB" noProof="0"/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592000" y="5899200"/>
            <a:ext cx="5884800" cy="324000"/>
          </a:xfrm>
        </p:spPr>
        <p:txBody>
          <a:bodyPr anchor="b" anchorCtr="0"/>
          <a:lstStyle>
            <a:lvl1pPr algn="r">
              <a:lnSpc>
                <a:spcPct val="100000"/>
              </a:lnSpc>
              <a:defRPr sz="1200" b="1">
                <a:solidFill>
                  <a:schemeClr val="accent2"/>
                </a:solidFill>
              </a:defRPr>
            </a:lvl1pPr>
          </a:lstStyle>
          <a:p>
            <a:r>
              <a:rPr lang="fr-FR" err="1"/>
              <a:t>Reach</a:t>
            </a:r>
            <a:r>
              <a:rPr lang="fr-FR"/>
              <a:t> </a:t>
            </a:r>
            <a:r>
              <a:rPr lang="fr-FR" err="1"/>
              <a:t>every</a:t>
            </a:r>
            <a:r>
              <a:rPr lang="fr-FR"/>
              <a:t> </a:t>
            </a:r>
            <a:r>
              <a:rPr lang="fr-FR" err="1"/>
              <a:t>child</a:t>
            </a:r>
            <a:endParaRPr lang="fr-FR"/>
          </a:p>
        </p:txBody>
      </p:sp>
      <p:sp>
        <p:nvSpPr>
          <p:cNvPr id="16" name="Rectangle 15"/>
          <p:cNvSpPr/>
          <p:nvPr userDrawn="1"/>
        </p:nvSpPr>
        <p:spPr bwMode="gray">
          <a:xfrm>
            <a:off x="5592000" y="6283200"/>
            <a:ext cx="5884800" cy="2872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r"/>
            <a:r>
              <a:rPr lang="en-GB" sz="1200" noProof="0">
                <a:solidFill>
                  <a:schemeClr val="accent3"/>
                </a:solidFill>
              </a:rPr>
              <a:t>www.gavi.org</a:t>
            </a:r>
          </a:p>
        </p:txBody>
      </p:sp>
      <p:sp>
        <p:nvSpPr>
          <p:cNvPr id="19" name="Rectangle 18"/>
          <p:cNvSpPr/>
          <p:nvPr userDrawn="1"/>
        </p:nvSpPr>
        <p:spPr bwMode="gray">
          <a:xfrm>
            <a:off x="672000" y="3391895"/>
            <a:ext cx="2337600" cy="25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/>
          </a:p>
        </p:txBody>
      </p:sp>
      <p:sp>
        <p:nvSpPr>
          <p:cNvPr id="18" name="Espace réservé pour une image  25"/>
          <p:cNvSpPr>
            <a:spLocks noGrp="1"/>
          </p:cNvSpPr>
          <p:nvPr>
            <p:ph type="pic" sz="quarter" idx="10" hasCustomPrompt="1"/>
          </p:nvPr>
        </p:nvSpPr>
        <p:spPr>
          <a:xfrm>
            <a:off x="6821913" y="0"/>
            <a:ext cx="5370089" cy="5158800"/>
          </a:xfrm>
          <a:custGeom>
            <a:avLst/>
            <a:gdLst>
              <a:gd name="connsiteX0" fmla="*/ 1929568 w 4027567"/>
              <a:gd name="connsiteY0" fmla="*/ 0 h 3869100"/>
              <a:gd name="connsiteX1" fmla="*/ 4027567 w 4027567"/>
              <a:gd name="connsiteY1" fmla="*/ 0 h 3869100"/>
              <a:gd name="connsiteX2" fmla="*/ 4027567 w 4027567"/>
              <a:gd name="connsiteY2" fmla="*/ 3869100 h 3869100"/>
              <a:gd name="connsiteX3" fmla="*/ 0 w 4027567"/>
              <a:gd name="connsiteY3" fmla="*/ 3869100 h 3869100"/>
              <a:gd name="connsiteX4" fmla="*/ 29823 w 4027567"/>
              <a:gd name="connsiteY4" fmla="*/ 3580448 h 3869100"/>
              <a:gd name="connsiteX5" fmla="*/ 1929568 w 4027567"/>
              <a:gd name="connsiteY5" fmla="*/ 0 h 3869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27567" h="3869100">
                <a:moveTo>
                  <a:pt x="1929568" y="0"/>
                </a:moveTo>
                <a:lnTo>
                  <a:pt x="4027567" y="0"/>
                </a:lnTo>
                <a:lnTo>
                  <a:pt x="4027567" y="3869100"/>
                </a:lnTo>
                <a:lnTo>
                  <a:pt x="0" y="3869100"/>
                </a:lnTo>
                <a:lnTo>
                  <a:pt x="29823" y="3580448"/>
                </a:lnTo>
                <a:cubicBezTo>
                  <a:pt x="280550" y="2115735"/>
                  <a:pt x="1924285" y="945283"/>
                  <a:pt x="1929568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tIns="720000" anchor="ctr" anchorCtr="0">
            <a:noAutofit/>
          </a:bodyPr>
          <a:lstStyle>
            <a:lvl1pPr marL="0" marR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Select your own photo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0" y="5157789"/>
            <a:ext cx="12192000" cy="287337"/>
          </a:xfrm>
          <a:solidFill>
            <a:schemeClr val="bg1"/>
          </a:solidFill>
        </p:spPr>
        <p:txBody>
          <a:bodyPr/>
          <a:lstStyle>
            <a:lvl1pPr>
              <a:defRPr sz="133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6473244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Divider +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5" descr="A picture containing ray, fish&#10;&#10;Description automatically generated">
            <a:extLst>
              <a:ext uri="{FF2B5EF4-FFF2-40B4-BE49-F238E27FC236}">
                <a16:creationId xmlns:a16="http://schemas.microsoft.com/office/drawing/2014/main" id="{E64479CB-DB0F-9D45-918A-B9BEDD2EC8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272" r="15376"/>
          <a:stretch/>
        </p:blipFill>
        <p:spPr>
          <a:xfrm>
            <a:off x="-3" y="0"/>
            <a:ext cx="6096001" cy="6858000"/>
          </a:xfrm>
          <a:prstGeom prst="round1Rect">
            <a:avLst>
              <a:gd name="adj" fmla="val 14304"/>
            </a:avLst>
          </a:prstGeom>
        </p:spPr>
      </p:pic>
      <p:sp>
        <p:nvSpPr>
          <p:cNvPr id="6" name="Text Placeholder 29">
            <a:extLst>
              <a:ext uri="{FF2B5EF4-FFF2-40B4-BE49-F238E27FC236}">
                <a16:creationId xmlns:a16="http://schemas.microsoft.com/office/drawing/2014/main" id="{DAB788B4-A63C-D849-B216-E7D266CBBAB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7" name="Text Placeholder 31">
            <a:extLst>
              <a:ext uri="{FF2B5EF4-FFF2-40B4-BE49-F238E27FC236}">
                <a16:creationId xmlns:a16="http://schemas.microsoft.com/office/drawing/2014/main" id="{F314B004-6AB6-8142-919B-E7ECC46845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85DA45A5-9E96-A540-A7CB-C6C50E73A7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361533" y="445558"/>
            <a:ext cx="1304260" cy="480118"/>
          </a:xfrm>
          <a:prstGeom prst="rect">
            <a:avLst/>
          </a:prstGeom>
        </p:spPr>
      </p:pic>
      <p:sp>
        <p:nvSpPr>
          <p:cNvPr id="8" name="Text Placeholder 29">
            <a:extLst>
              <a:ext uri="{FF2B5EF4-FFF2-40B4-BE49-F238E27FC236}">
                <a16:creationId xmlns:a16="http://schemas.microsoft.com/office/drawing/2014/main" id="{BFF0CE34-D1A8-0246-ADEF-5C8D7757129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5938" y="1963923"/>
            <a:ext cx="5064591" cy="3104603"/>
          </a:xfrm>
        </p:spPr>
        <p:txBody>
          <a:bodyPr>
            <a:noAutofit/>
          </a:bodyPr>
          <a:lstStyle>
            <a:lvl1pPr algn="ctr">
              <a:lnSpc>
                <a:spcPct val="80000"/>
              </a:lnSpc>
              <a:spcAft>
                <a:spcPts val="0"/>
              </a:spcAft>
              <a:defRPr sz="32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3356691001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+ Image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4">
            <a:extLst>
              <a:ext uri="{FF2B5EF4-FFF2-40B4-BE49-F238E27FC236}">
                <a16:creationId xmlns:a16="http://schemas.microsoft.com/office/drawing/2014/main" id="{86A756F5-203A-4C4F-9479-348B2905A666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501514" y="0"/>
            <a:ext cx="6690486" cy="6858000"/>
          </a:xfrm>
          <a:custGeom>
            <a:avLst/>
            <a:gdLst>
              <a:gd name="connsiteX0" fmla="*/ 0 w 7942912"/>
              <a:gd name="connsiteY0" fmla="*/ 0 h 6858000"/>
              <a:gd name="connsiteX1" fmla="*/ 7942912 w 7942912"/>
              <a:gd name="connsiteY1" fmla="*/ 0 h 6858000"/>
              <a:gd name="connsiteX2" fmla="*/ 7942912 w 7942912"/>
              <a:gd name="connsiteY2" fmla="*/ 6858000 h 6858000"/>
              <a:gd name="connsiteX3" fmla="*/ 704040 w 7942912"/>
              <a:gd name="connsiteY3" fmla="*/ 6858000 h 6858000"/>
              <a:gd name="connsiteX4" fmla="*/ 704040 w 7942912"/>
              <a:gd name="connsiteY4" fmla="*/ 704067 h 6858000"/>
              <a:gd name="connsiteX5" fmla="*/ 141865 w 7942912"/>
              <a:gd name="connsiteY5" fmla="*/ 1430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42912" h="6858000">
                <a:moveTo>
                  <a:pt x="0" y="0"/>
                </a:moveTo>
                <a:lnTo>
                  <a:pt x="7942912" y="0"/>
                </a:lnTo>
                <a:lnTo>
                  <a:pt x="7942912" y="6858000"/>
                </a:lnTo>
                <a:lnTo>
                  <a:pt x="704040" y="6858000"/>
                </a:lnTo>
                <a:lnTo>
                  <a:pt x="704040" y="704067"/>
                </a:lnTo>
                <a:cubicBezTo>
                  <a:pt x="704040" y="363826"/>
                  <a:pt x="462698" y="79953"/>
                  <a:pt x="141865" y="1430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insert pictu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4F144B-74C7-A148-8E87-6034061E0CB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9" y="1700213"/>
            <a:ext cx="4692628" cy="234609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89FFAF13-E12B-E54E-B2B2-5142A884DB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2309427"/>
            <a:ext cx="4692628" cy="2518484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878A746-9E85-F24C-AD58-8F45F83396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9" y="5721999"/>
            <a:ext cx="4692628" cy="187359"/>
          </a:xfrm>
        </p:spPr>
        <p:txBody>
          <a:bodyPr anchor="b">
            <a:spAutoFit/>
          </a:bodyPr>
          <a:lstStyle>
            <a:lvl1pPr>
              <a:defRPr sz="1200" spc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7AFD6BA4-8A31-2C45-81C0-67141C06959C}"/>
              </a:ext>
            </a:extLst>
          </p:cNvPr>
          <p:cNvSpPr txBox="1">
            <a:spLocks/>
          </p:cNvSpPr>
          <p:nvPr userDrawn="1"/>
        </p:nvSpPr>
        <p:spPr>
          <a:xfrm>
            <a:off x="515938" y="6173816"/>
            <a:ext cx="1303626" cy="315884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800" b="1">
                <a:solidFill>
                  <a:schemeClr val="bg2"/>
                </a:solidFill>
              </a:rPr>
              <a:t>gavi.org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C10119D7-2EC9-4840-AC33-164E7101833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351263" y="443457"/>
            <a:ext cx="1324800" cy="48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8812659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4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78B95D78-F57A-6D40-A841-7D1E3B0827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304925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549400" y="1687057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549400" y="1304925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D3B567E7-3D24-6F43-A35A-BBC5B9C571B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5938" y="3786232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93E388B6-7D3E-7F4E-89BF-34EFDCA27B0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549400" y="4168364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881671EB-257B-ED4B-947C-F1B6F4FDC86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549400" y="3786232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2691027-CA0E-E24A-BE52-C681CD1360B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498773" y="1304925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6C29C828-D0AF-8740-B636-DCE11FB0484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532235" y="1687057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58CECF4C-60E6-054F-A58B-39ED49ED6AD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532235" y="1304925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CD7BB1DF-4B0D-0046-AD00-F6E58908BDE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498773" y="3786232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FDABD8D9-C71A-A446-8E62-82A359216E9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532235" y="4168364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0340EBB2-1491-9444-9D25-3567B2AAB22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532235" y="3786232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3307426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3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23" name="Round Same-side Corner of Rectangle 22">
            <a:extLst>
              <a:ext uri="{FF2B5EF4-FFF2-40B4-BE49-F238E27FC236}">
                <a16:creationId xmlns:a16="http://schemas.microsoft.com/office/drawing/2014/main" id="{16D0EA1C-2C30-674C-9E0D-D3B85EFE8B44}"/>
              </a:ext>
            </a:extLst>
          </p:cNvPr>
          <p:cNvSpPr/>
          <p:nvPr userDrawn="1"/>
        </p:nvSpPr>
        <p:spPr>
          <a:xfrm rot="5400000" flipH="1">
            <a:off x="8698709" y="2420146"/>
            <a:ext cx="1350948" cy="563563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0933F7F4-7E4A-AD4A-B080-3883C01BCEA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955149" y="5013397"/>
            <a:ext cx="3715133" cy="792044"/>
          </a:xfrm>
        </p:spPr>
        <p:txBody>
          <a:bodyPr anchor="t">
            <a:normAutofit/>
          </a:bodyPr>
          <a:lstStyle>
            <a:lvl1pPr marL="179388" indent="-179388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66DF01F6-3014-6E4B-AB71-62673ED7268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955149" y="4663313"/>
            <a:ext cx="1917616" cy="24925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1600" b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E49618F2-620F-A042-9095-E7C4C137E2ED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957092" y="4846809"/>
            <a:ext cx="767874" cy="767874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7" name="Round Same-side Corner of Rectangle 26">
            <a:extLst>
              <a:ext uri="{FF2B5EF4-FFF2-40B4-BE49-F238E27FC236}">
                <a16:creationId xmlns:a16="http://schemas.microsoft.com/office/drawing/2014/main" id="{CFB215F2-B96A-D14F-B549-E8D9FA660A0B}"/>
              </a:ext>
            </a:extLst>
          </p:cNvPr>
          <p:cNvSpPr/>
          <p:nvPr userDrawn="1"/>
        </p:nvSpPr>
        <p:spPr>
          <a:xfrm rot="5400000" flipH="1">
            <a:off x="8698709" y="791363"/>
            <a:ext cx="1350948" cy="563563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F2701821-5C13-4746-B598-28CE9EEFDFD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955149" y="3384614"/>
            <a:ext cx="3715133" cy="792044"/>
          </a:xfrm>
        </p:spPr>
        <p:txBody>
          <a:bodyPr anchor="t">
            <a:normAutofit/>
          </a:bodyPr>
          <a:lstStyle>
            <a:lvl1pPr marL="179388" indent="-179388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8C928579-FF9D-8E4F-912D-F44BF03ECF0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955149" y="3034530"/>
            <a:ext cx="1917616" cy="24925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1600" b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B617E54E-8C7A-E24B-A3E6-FFD196430237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957092" y="3218026"/>
            <a:ext cx="767874" cy="767874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1" name="Round Same-side Corner of Rectangle 30">
            <a:extLst>
              <a:ext uri="{FF2B5EF4-FFF2-40B4-BE49-F238E27FC236}">
                <a16:creationId xmlns:a16="http://schemas.microsoft.com/office/drawing/2014/main" id="{468DF2F5-0340-4C4E-8BAB-B68D68BDB1CC}"/>
              </a:ext>
            </a:extLst>
          </p:cNvPr>
          <p:cNvSpPr/>
          <p:nvPr userDrawn="1"/>
        </p:nvSpPr>
        <p:spPr>
          <a:xfrm rot="5400000" flipH="1">
            <a:off x="8698709" y="-837418"/>
            <a:ext cx="1350948" cy="563563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8297A7AF-4FD1-0044-A50C-5C0CE488521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955149" y="1755833"/>
            <a:ext cx="3715133" cy="792044"/>
          </a:xfrm>
        </p:spPr>
        <p:txBody>
          <a:bodyPr anchor="t">
            <a:normAutofit/>
          </a:bodyPr>
          <a:lstStyle>
            <a:lvl1pPr marL="179388" indent="-179388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6C19D012-767E-A845-8105-4B4C4887921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955149" y="1405749"/>
            <a:ext cx="1917616" cy="24925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1600" b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DD5DD0FD-09C0-E049-944D-E6046E4FD565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957092" y="1589245"/>
            <a:ext cx="767874" cy="767874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34102237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 Chart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5498C8CE-3879-2F54-526A-4FB3BC35A614}"/>
              </a:ext>
            </a:extLst>
          </p:cNvPr>
          <p:cNvGrpSpPr/>
          <p:nvPr userDrawn="1"/>
        </p:nvGrpSpPr>
        <p:grpSpPr>
          <a:xfrm>
            <a:off x="506981" y="2354656"/>
            <a:ext cx="11169081" cy="3558782"/>
            <a:chOff x="506982" y="1923728"/>
            <a:chExt cx="8410120" cy="2679700"/>
          </a:xfrm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FF8E22B8-C626-33CF-AF31-C216F15358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859702" y="1923728"/>
              <a:ext cx="2057400" cy="2679700"/>
            </a:xfrm>
            <a:prstGeom prst="rect">
              <a:avLst/>
            </a:prstGeom>
          </p:spPr>
        </p:pic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51CC370D-D55C-CF1D-A84D-FC3FD269EF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733662" y="1923728"/>
              <a:ext cx="2209800" cy="2679700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0CF38F8D-CE10-398F-DC92-0410984D5CA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2607622" y="1923728"/>
              <a:ext cx="2209800" cy="2679700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71C8FE21-D454-2669-5018-BDB88B7A469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06982" y="1923728"/>
              <a:ext cx="2184400" cy="2679700"/>
            </a:xfrm>
            <a:prstGeom prst="rect">
              <a:avLst/>
            </a:prstGeom>
          </p:spPr>
        </p:pic>
      </p:grp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469A369E-3216-3A94-D069-C4212D6C5B2A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5"/>
            <a:ext cx="11144930" cy="853194"/>
          </a:xfrm>
        </p:spPr>
        <p:txBody>
          <a:bodyPr numCol="1" spcCol="180000"/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8A9C1315-921F-285F-D6BD-A177DE53DC2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5643" y="3054704"/>
            <a:ext cx="2290922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4F0999A6-8092-1A74-E3A2-26CC341F65C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5643" y="2501966"/>
            <a:ext cx="2290922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F5E81801-D408-BD68-8EF8-821176E431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583362" y="3054704"/>
            <a:ext cx="2231105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FE29D8EA-6114-4150-3B97-EAD0BB047B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83362" y="2501966"/>
            <a:ext cx="2231105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832C3EE2-E731-14E8-F235-F0DC107603F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396559" y="3054704"/>
            <a:ext cx="2251850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3514D2BC-4EB5-482F-640F-D4ECA3398E7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96559" y="2501966"/>
            <a:ext cx="2251850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176B8D71-6027-E9D4-DE0B-4336DE4C876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244461" y="3054704"/>
            <a:ext cx="2290922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006DA17C-A871-793A-2C8F-F98A0EDA8E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244461" y="2501966"/>
            <a:ext cx="2290922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1116845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63869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D67BD3D-5E5B-2957-7B72-B286DEA69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1DD0B93-9CA3-DE96-64E9-7FECBAD37972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id="{F3526303-0969-95FB-D8FA-0C9E39165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21" name="Picture 11">
            <a:extLst>
              <a:ext uri="{FF2B5EF4-FFF2-40B4-BE49-F238E27FC236}">
                <a16:creationId xmlns:a16="http://schemas.microsoft.com/office/drawing/2014/main" id="{24A4E3D3-8EF4-A80C-4780-9639C12D4E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6DFBA0EA-6763-E017-8DB4-792094E59657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6652260" y="1304924"/>
            <a:ext cx="5033328" cy="4608501"/>
          </a:xfrm>
        </p:spPr>
        <p:txBody>
          <a:bodyPr numCol="1" spcCol="180000">
            <a:noAutofit/>
          </a:bodyPr>
          <a:lstStyle>
            <a:lvl1pPr marL="0" indent="0"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400" b="1">
                <a:solidFill>
                  <a:schemeClr val="accent4"/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3393086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63869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D7BA9708-B496-A663-CB06-FD4F2E3602E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59525" y="3227929"/>
            <a:ext cx="5326063" cy="2685506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D67BD3D-5E5B-2957-7B72-B286DEA69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1DD0B93-9CA3-DE96-64E9-7FECBAD37972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id="{F3526303-0969-95FB-D8FA-0C9E39165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21" name="Picture 11">
            <a:extLst>
              <a:ext uri="{FF2B5EF4-FFF2-40B4-BE49-F238E27FC236}">
                <a16:creationId xmlns:a16="http://schemas.microsoft.com/office/drawing/2014/main" id="{24A4E3D3-8EF4-A80C-4780-9639C12D4E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6DFBA0EA-6763-E017-8DB4-792094E59657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6345193" y="1304925"/>
            <a:ext cx="5340395" cy="312265"/>
          </a:xfrm>
        </p:spPr>
        <p:txBody>
          <a:bodyPr numCol="1" spcCol="180000">
            <a:spAutoFit/>
          </a:bodyPr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 b="1">
                <a:solidFill>
                  <a:schemeClr val="accent4"/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4BC205A0-AF05-E822-A6D1-8E80B8895804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345193" y="5962960"/>
            <a:ext cx="5340395" cy="140488"/>
          </a:xfrm>
        </p:spPr>
        <p:txBody>
          <a:bodyPr numCol="1" spcCol="180000">
            <a:spAutoFit/>
          </a:bodyPr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Optional image caption</a:t>
            </a:r>
          </a:p>
        </p:txBody>
      </p:sp>
    </p:spTree>
    <p:extLst>
      <p:ext uri="{BB962C8B-B14F-4D97-AF65-F5344CB8AC3E}">
        <p14:creationId xmlns:p14="http://schemas.microsoft.com/office/powerpoint/2010/main" val="337742726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5315BB4-CEA5-4429-26F4-D4B56B8BE14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59525" y="368300"/>
            <a:ext cx="5326063" cy="2685505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D7BA9708-B496-A663-CB06-FD4F2E3602E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59525" y="3227929"/>
            <a:ext cx="5326063" cy="2685506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D67BD3D-5E5B-2957-7B72-B286DEA69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1DD0B93-9CA3-DE96-64E9-7FECBAD37972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id="{F3526303-0969-95FB-D8FA-0C9E39165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21" name="Picture 11">
            <a:extLst>
              <a:ext uri="{FF2B5EF4-FFF2-40B4-BE49-F238E27FC236}">
                <a16:creationId xmlns:a16="http://schemas.microsoft.com/office/drawing/2014/main" id="{24A4E3D3-8EF4-A80C-4780-9639C12D4E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02F1485A-E0B4-C14E-58C4-9144A8FEE29C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345193" y="5962960"/>
            <a:ext cx="5340395" cy="140488"/>
          </a:xfrm>
        </p:spPr>
        <p:txBody>
          <a:bodyPr numCol="1" spcCol="180000">
            <a:spAutoFit/>
          </a:bodyPr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Optional image caption</a:t>
            </a:r>
          </a:p>
        </p:txBody>
      </p:sp>
    </p:spTree>
    <p:extLst>
      <p:ext uri="{BB962C8B-B14F-4D97-AF65-F5344CB8AC3E}">
        <p14:creationId xmlns:p14="http://schemas.microsoft.com/office/powerpoint/2010/main" val="11324253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5" descr="A picture containing ray, fish&#10;&#10;Description automatically generated">
            <a:extLst>
              <a:ext uri="{FF2B5EF4-FFF2-40B4-BE49-F238E27FC236}">
                <a16:creationId xmlns:a16="http://schemas.microsoft.com/office/drawing/2014/main" id="{E64479CB-DB0F-9D45-918A-B9BEDD2EC8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272" r="15376"/>
          <a:stretch/>
        </p:blipFill>
        <p:spPr>
          <a:xfrm>
            <a:off x="-3" y="0"/>
            <a:ext cx="6096001" cy="6858000"/>
          </a:xfrm>
          <a:prstGeom prst="round1Rect">
            <a:avLst>
              <a:gd name="adj" fmla="val 14304"/>
            </a:avLst>
          </a:prstGeom>
        </p:spPr>
      </p:pic>
      <p:sp>
        <p:nvSpPr>
          <p:cNvPr id="6" name="Text Placeholder 29">
            <a:extLst>
              <a:ext uri="{FF2B5EF4-FFF2-40B4-BE49-F238E27FC236}">
                <a16:creationId xmlns:a16="http://schemas.microsoft.com/office/drawing/2014/main" id="{DAB788B4-A63C-D849-B216-E7D266CBBAB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7" name="Text Placeholder 31">
            <a:extLst>
              <a:ext uri="{FF2B5EF4-FFF2-40B4-BE49-F238E27FC236}">
                <a16:creationId xmlns:a16="http://schemas.microsoft.com/office/drawing/2014/main" id="{F314B004-6AB6-8142-919B-E7ECC46845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85DA45A5-9E96-A540-A7CB-C6C50E73A7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361533" y="445558"/>
            <a:ext cx="1304260" cy="480118"/>
          </a:xfrm>
          <a:prstGeom prst="rect">
            <a:avLst/>
          </a:prstGeom>
        </p:spPr>
      </p:pic>
      <p:sp>
        <p:nvSpPr>
          <p:cNvPr id="8" name="Text Placeholder 29">
            <a:extLst>
              <a:ext uri="{FF2B5EF4-FFF2-40B4-BE49-F238E27FC236}">
                <a16:creationId xmlns:a16="http://schemas.microsoft.com/office/drawing/2014/main" id="{BFF0CE34-D1A8-0246-ADEF-5C8D7757129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5938" y="1963923"/>
            <a:ext cx="5064591" cy="3104603"/>
          </a:xfrm>
        </p:spPr>
        <p:txBody>
          <a:bodyPr>
            <a:noAutofit/>
          </a:bodyPr>
          <a:lstStyle>
            <a:lvl1pPr algn="ctr">
              <a:lnSpc>
                <a:spcPct val="80000"/>
              </a:lnSpc>
              <a:spcAft>
                <a:spcPts val="0"/>
              </a:spcAft>
              <a:defRPr sz="32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216436846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7">
            <a:extLst>
              <a:ext uri="{FF2B5EF4-FFF2-40B4-BE49-F238E27FC236}">
                <a16:creationId xmlns:a16="http://schemas.microsoft.com/office/drawing/2014/main" id="{1426049D-A517-EA42-AFCA-8DDB22C6BA3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495588" y="-10508"/>
            <a:ext cx="5711376" cy="6879020"/>
          </a:xfrm>
          <a:custGeom>
            <a:avLst/>
            <a:gdLst>
              <a:gd name="connsiteX0" fmla="*/ 0 w 7962406"/>
              <a:gd name="connsiteY0" fmla="*/ 0 h 6857999"/>
              <a:gd name="connsiteX1" fmla="*/ 7962406 w 7962406"/>
              <a:gd name="connsiteY1" fmla="*/ 0 h 6857999"/>
              <a:gd name="connsiteX2" fmla="*/ 7962406 w 7962406"/>
              <a:gd name="connsiteY2" fmla="*/ 6857999 h 6857999"/>
              <a:gd name="connsiteX3" fmla="*/ 1019785 w 7962406"/>
              <a:gd name="connsiteY3" fmla="*/ 6857999 h 6857999"/>
              <a:gd name="connsiteX4" fmla="*/ 0 w 7962406"/>
              <a:gd name="connsiteY4" fmla="*/ 5838214 h 6857999"/>
              <a:gd name="connsiteX0" fmla="*/ 0 w 7962406"/>
              <a:gd name="connsiteY0" fmla="*/ 0 h 6857999"/>
              <a:gd name="connsiteX1" fmla="*/ 6039013 w 7962406"/>
              <a:gd name="connsiteY1" fmla="*/ 84083 h 6857999"/>
              <a:gd name="connsiteX2" fmla="*/ 7962406 w 7962406"/>
              <a:gd name="connsiteY2" fmla="*/ 6857999 h 6857999"/>
              <a:gd name="connsiteX3" fmla="*/ 1019785 w 7962406"/>
              <a:gd name="connsiteY3" fmla="*/ 6857999 h 6857999"/>
              <a:gd name="connsiteX4" fmla="*/ 0 w 7962406"/>
              <a:gd name="connsiteY4" fmla="*/ 5838214 h 6857999"/>
              <a:gd name="connsiteX5" fmla="*/ 0 w 7962406"/>
              <a:gd name="connsiteY5" fmla="*/ 0 h 6857999"/>
              <a:gd name="connsiteX0" fmla="*/ 0 w 7962406"/>
              <a:gd name="connsiteY0" fmla="*/ 10510 h 6868509"/>
              <a:gd name="connsiteX1" fmla="*/ 6144117 w 7962406"/>
              <a:gd name="connsiteY1" fmla="*/ 0 h 6868509"/>
              <a:gd name="connsiteX2" fmla="*/ 7962406 w 7962406"/>
              <a:gd name="connsiteY2" fmla="*/ 6868509 h 6868509"/>
              <a:gd name="connsiteX3" fmla="*/ 1019785 w 7962406"/>
              <a:gd name="connsiteY3" fmla="*/ 6868509 h 6868509"/>
              <a:gd name="connsiteX4" fmla="*/ 0 w 7962406"/>
              <a:gd name="connsiteY4" fmla="*/ 5848724 h 6868509"/>
              <a:gd name="connsiteX5" fmla="*/ 0 w 7962406"/>
              <a:gd name="connsiteY5" fmla="*/ 10510 h 6868509"/>
              <a:gd name="connsiteX0" fmla="*/ 0 w 6144117"/>
              <a:gd name="connsiteY0" fmla="*/ 10510 h 6868509"/>
              <a:gd name="connsiteX1" fmla="*/ 6144117 w 6144117"/>
              <a:gd name="connsiteY1" fmla="*/ 0 h 6868509"/>
              <a:gd name="connsiteX2" fmla="*/ 5660640 w 6144117"/>
              <a:gd name="connsiteY2" fmla="*/ 6563709 h 6868509"/>
              <a:gd name="connsiteX3" fmla="*/ 1019785 w 6144117"/>
              <a:gd name="connsiteY3" fmla="*/ 6868509 h 6868509"/>
              <a:gd name="connsiteX4" fmla="*/ 0 w 6144117"/>
              <a:gd name="connsiteY4" fmla="*/ 5848724 h 6868509"/>
              <a:gd name="connsiteX5" fmla="*/ 0 w 6144117"/>
              <a:gd name="connsiteY5" fmla="*/ 10510 h 6868509"/>
              <a:gd name="connsiteX0" fmla="*/ 0 w 6154626"/>
              <a:gd name="connsiteY0" fmla="*/ 10510 h 6879020"/>
              <a:gd name="connsiteX1" fmla="*/ 6144117 w 6154626"/>
              <a:gd name="connsiteY1" fmla="*/ 0 h 6879020"/>
              <a:gd name="connsiteX2" fmla="*/ 6154626 w 6154626"/>
              <a:gd name="connsiteY2" fmla="*/ 6879020 h 6879020"/>
              <a:gd name="connsiteX3" fmla="*/ 1019785 w 6154626"/>
              <a:gd name="connsiteY3" fmla="*/ 6868509 h 6879020"/>
              <a:gd name="connsiteX4" fmla="*/ 0 w 6154626"/>
              <a:gd name="connsiteY4" fmla="*/ 5848724 h 6879020"/>
              <a:gd name="connsiteX5" fmla="*/ 0 w 6154626"/>
              <a:gd name="connsiteY5" fmla="*/ 10510 h 6879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54626" h="6879020">
                <a:moveTo>
                  <a:pt x="0" y="10510"/>
                </a:moveTo>
                <a:lnTo>
                  <a:pt x="6144117" y="0"/>
                </a:lnTo>
                <a:lnTo>
                  <a:pt x="6154626" y="6879020"/>
                </a:lnTo>
                <a:lnTo>
                  <a:pt x="1019785" y="6868509"/>
                </a:lnTo>
                <a:cubicBezTo>
                  <a:pt x="456573" y="6868509"/>
                  <a:pt x="0" y="6411936"/>
                  <a:pt x="0" y="5848724"/>
                </a:cubicBezTo>
                <a:lnTo>
                  <a:pt x="0" y="1051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insert pictur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E04A98-CDC1-2043-A233-CAA53ED2E1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43129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4320384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E04A98-CDC1-2043-A233-CAA53ED2E1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43129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D7270696-0AB9-0445-9B12-E1B6CE40D32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685640" y="0"/>
            <a:ext cx="6506360" cy="6858000"/>
          </a:xfrm>
          <a:custGeom>
            <a:avLst/>
            <a:gdLst>
              <a:gd name="connsiteX0" fmla="*/ 0 w 6506360"/>
              <a:gd name="connsiteY0" fmla="*/ 0 h 6858000"/>
              <a:gd name="connsiteX1" fmla="*/ 6506360 w 6506360"/>
              <a:gd name="connsiteY1" fmla="*/ 0 h 6858000"/>
              <a:gd name="connsiteX2" fmla="*/ 6506360 w 6506360"/>
              <a:gd name="connsiteY2" fmla="*/ 6858000 h 6858000"/>
              <a:gd name="connsiteX3" fmla="*/ 816590 w 6506360"/>
              <a:gd name="connsiteY3" fmla="*/ 6858000 h 6858000"/>
              <a:gd name="connsiteX4" fmla="*/ 816590 w 6506360"/>
              <a:gd name="connsiteY4" fmla="*/ 939979 h 6858000"/>
              <a:gd name="connsiteX5" fmla="*/ 57657 w 6506360"/>
              <a:gd name="connsiteY5" fmla="*/ 8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06360" h="6858000">
                <a:moveTo>
                  <a:pt x="0" y="0"/>
                </a:moveTo>
                <a:lnTo>
                  <a:pt x="6506360" y="0"/>
                </a:lnTo>
                <a:lnTo>
                  <a:pt x="6506360" y="6858000"/>
                </a:lnTo>
                <a:lnTo>
                  <a:pt x="816590" y="6858000"/>
                </a:lnTo>
                <a:lnTo>
                  <a:pt x="816590" y="939979"/>
                </a:lnTo>
                <a:cubicBezTo>
                  <a:pt x="816590" y="480656"/>
                  <a:pt x="490779" y="97429"/>
                  <a:pt x="57657" y="880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7DCA613B-D18E-594C-9579-2E40707B7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643128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5913949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E04A98-CDC1-2043-A233-CAA53ED2E1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43129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D7270696-0AB9-0445-9B12-E1B6CE40D32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685640" y="0"/>
            <a:ext cx="6506360" cy="6858000"/>
          </a:xfrm>
          <a:custGeom>
            <a:avLst/>
            <a:gdLst>
              <a:gd name="connsiteX0" fmla="*/ 0 w 6506360"/>
              <a:gd name="connsiteY0" fmla="*/ 0 h 6858000"/>
              <a:gd name="connsiteX1" fmla="*/ 6506360 w 6506360"/>
              <a:gd name="connsiteY1" fmla="*/ 0 h 6858000"/>
              <a:gd name="connsiteX2" fmla="*/ 6506360 w 6506360"/>
              <a:gd name="connsiteY2" fmla="*/ 6858000 h 6858000"/>
              <a:gd name="connsiteX3" fmla="*/ 816590 w 6506360"/>
              <a:gd name="connsiteY3" fmla="*/ 6858000 h 6858000"/>
              <a:gd name="connsiteX4" fmla="*/ 816590 w 6506360"/>
              <a:gd name="connsiteY4" fmla="*/ 939979 h 6858000"/>
              <a:gd name="connsiteX5" fmla="*/ 57657 w 6506360"/>
              <a:gd name="connsiteY5" fmla="*/ 8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06360" h="6858000">
                <a:moveTo>
                  <a:pt x="0" y="0"/>
                </a:moveTo>
                <a:lnTo>
                  <a:pt x="6506360" y="0"/>
                </a:lnTo>
                <a:lnTo>
                  <a:pt x="6506360" y="6858000"/>
                </a:lnTo>
                <a:lnTo>
                  <a:pt x="816590" y="6858000"/>
                </a:lnTo>
                <a:lnTo>
                  <a:pt x="816590" y="939979"/>
                </a:lnTo>
                <a:cubicBezTo>
                  <a:pt x="816590" y="480656"/>
                  <a:pt x="490779" y="97429"/>
                  <a:pt x="57657" y="880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7DCA613B-D18E-594C-9579-2E40707B7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643128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E2F4BDEF-FEFC-0BDD-3EB4-7710855ED6AB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515937" y="1329378"/>
            <a:ext cx="5580062" cy="4637076"/>
          </a:xfrm>
        </p:spPr>
        <p:txBody>
          <a:bodyPr numCol="1" spcCol="180000" anchor="t">
            <a:noAutofit/>
          </a:bodyPr>
          <a:lstStyle>
            <a:lvl1pPr marL="0" indent="0">
              <a:lnSpc>
                <a:spcPct val="100000"/>
              </a:lnSpc>
              <a:spcAft>
                <a:spcPts val="1800"/>
              </a:spcAft>
              <a:buClr>
                <a:schemeClr val="bg2"/>
              </a:buClr>
              <a:buFont typeface="Arial" panose="020B0604020202020204" pitchFamily="34" charset="0"/>
              <a:buNone/>
              <a:defRPr sz="2800" b="1">
                <a:solidFill>
                  <a:schemeClr val="accent4"/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D7D9C6B7-7323-827F-E01F-2EFDCE7214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2312873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s + Images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8" y="4360961"/>
            <a:ext cx="5234437" cy="1538516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8" y="3915591"/>
            <a:ext cx="5234437" cy="281103"/>
          </a:xfrm>
        </p:spPr>
        <p:txBody>
          <a:bodyPr wrap="square"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A5AC520F-8595-0F44-99A9-F0873ACA4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41625" y="4360961"/>
            <a:ext cx="5234437" cy="1538516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41625" y="3915591"/>
            <a:ext cx="5234437" cy="281103"/>
          </a:xfrm>
        </p:spPr>
        <p:txBody>
          <a:bodyPr wrap="square"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4EF54ED7-3E2F-C8F7-553C-1DB155F7DBD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15938" y="1304924"/>
            <a:ext cx="5234438" cy="2400167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BCF59FD3-6B56-67EF-C1E8-78C92005D9A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441625" y="1304924"/>
            <a:ext cx="5234438" cy="2400167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99001860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s + Image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9" y="3726649"/>
            <a:ext cx="3287436" cy="2121010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3281279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A5AC520F-8595-0F44-99A9-F0873ACA4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2282" y="3726649"/>
            <a:ext cx="3287436" cy="2121010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52282" y="3281279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AD30B9DC-1666-7446-9DFD-F674A273B4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82846" y="3733177"/>
            <a:ext cx="3287436" cy="2121010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C7816D18-C579-DE44-B3B4-5D3819813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846" y="3287807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4EF54ED7-3E2F-C8F7-553C-1DB155F7DBD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15938" y="1304925"/>
            <a:ext cx="3287437" cy="1826421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BCF59FD3-6B56-67EF-C1E8-78C92005D9A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452281" y="1304925"/>
            <a:ext cx="3287437" cy="1826421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AA59D731-0D13-EB6C-7B10-1B59D3D8C5AA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388626" y="1304925"/>
            <a:ext cx="3287437" cy="1826421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94609382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4050217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52282" y="4050217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C7816D18-C579-DE44-B3B4-5D3819813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846" y="4056745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B0250E06-295E-B6E6-95C4-089EF7886C7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39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1638B5E-8DB0-EAFF-0CF3-8812AF05A9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49392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248EBF9A-10A9-92FA-05B2-3A952388340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82846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D2E71522-4C4D-EAC4-2A71-F45B1F18D569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5"/>
            <a:ext cx="11144930" cy="1369692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0720795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s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62" name="Title Placeholder 1">
            <a:extLst>
              <a:ext uri="{FF2B5EF4-FFF2-40B4-BE49-F238E27FC236}">
                <a16:creationId xmlns:a16="http://schemas.microsoft.com/office/drawing/2014/main" id="{14F0825D-90B8-6120-7F14-9DC0960BC9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63" name="Text Placeholder 6">
            <a:extLst>
              <a:ext uri="{FF2B5EF4-FFF2-40B4-BE49-F238E27FC236}">
                <a16:creationId xmlns:a16="http://schemas.microsoft.com/office/drawing/2014/main" id="{AF40E274-F0AF-0436-1F33-86E04DCC0DA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39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DB2C3DC3-9DBF-095B-1AEB-4513EE50C647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1566849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5" name="Text Placeholder 6">
            <a:extLst>
              <a:ext uri="{FF2B5EF4-FFF2-40B4-BE49-F238E27FC236}">
                <a16:creationId xmlns:a16="http://schemas.microsoft.com/office/drawing/2014/main" id="{EBBD32EE-C0FF-E8CB-43E3-315A609AEFE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6" name="Text Placeholder 6">
            <a:extLst>
              <a:ext uri="{FF2B5EF4-FFF2-40B4-BE49-F238E27FC236}">
                <a16:creationId xmlns:a16="http://schemas.microsoft.com/office/drawing/2014/main" id="{9E2EB64B-500A-8201-8F3F-287FDE60FB1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0268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7" name="Text Placeholder 6">
            <a:extLst>
              <a:ext uri="{FF2B5EF4-FFF2-40B4-BE49-F238E27FC236}">
                <a16:creationId xmlns:a16="http://schemas.microsoft.com/office/drawing/2014/main" id="{709BC01A-3AFB-CE31-0E4A-EE885FE2D5A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8943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8" name="Text Placeholder 6">
            <a:extLst>
              <a:ext uri="{FF2B5EF4-FFF2-40B4-BE49-F238E27FC236}">
                <a16:creationId xmlns:a16="http://schemas.microsoft.com/office/drawing/2014/main" id="{CD03EE5B-6B86-7B77-E541-93CE0511523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37618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9" name="Text Placeholder 6">
            <a:extLst>
              <a:ext uri="{FF2B5EF4-FFF2-40B4-BE49-F238E27FC236}">
                <a16:creationId xmlns:a16="http://schemas.microsoft.com/office/drawing/2014/main" id="{F9CB884D-6999-7DC7-1825-FC60BEC935BD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662940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0" name="Text Placeholder 6">
            <a:extLst>
              <a:ext uri="{FF2B5EF4-FFF2-40B4-BE49-F238E27FC236}">
                <a16:creationId xmlns:a16="http://schemas.microsoft.com/office/drawing/2014/main" id="{F03D69DA-4061-E20B-1262-8A9F09B92D2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790107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71" name="Text Placeholder 6">
            <a:extLst>
              <a:ext uri="{FF2B5EF4-FFF2-40B4-BE49-F238E27FC236}">
                <a16:creationId xmlns:a16="http://schemas.microsoft.com/office/drawing/2014/main" id="{4DA3F266-6EB8-18CF-146E-FCE0EE2BCCE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064275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72" name="Text Placeholder 6">
            <a:extLst>
              <a:ext uri="{FF2B5EF4-FFF2-40B4-BE49-F238E27FC236}">
                <a16:creationId xmlns:a16="http://schemas.microsoft.com/office/drawing/2014/main" id="{ABAC94EC-4D3A-CEAC-3763-AE5EBA84295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376189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73" name="Text Placeholder 6">
            <a:extLst>
              <a:ext uri="{FF2B5EF4-FFF2-40B4-BE49-F238E27FC236}">
                <a16:creationId xmlns:a16="http://schemas.microsoft.com/office/drawing/2014/main" id="{CB8F9A8E-E04A-1CA2-A320-7A4AE6F70DD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662940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</p:spTree>
    <p:extLst>
      <p:ext uri="{BB962C8B-B14F-4D97-AF65-F5344CB8AC3E}">
        <p14:creationId xmlns:p14="http://schemas.microsoft.com/office/powerpoint/2010/main" val="267128982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/Milestones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id="{B7F29198-E920-459C-2862-C2C7FB6FEB6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545069581"/>
              </p:ext>
            </p:extLst>
          </p:nvPr>
        </p:nvGraphicFramePr>
        <p:xfrm>
          <a:off x="606585" y="2278196"/>
          <a:ext cx="11007608" cy="3618726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2751902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2751902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2751902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2751902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</a:tblGrid>
              <a:tr h="361872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78195"/>
            <a:ext cx="11036388" cy="45719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47D58FC1-83B9-3BAD-C3EF-06E8D5DE120F}"/>
              </a:ext>
            </a:extLst>
          </p:cNvPr>
          <p:cNvSpPr>
            <a:spLocks noChangeAspect="1"/>
          </p:cNvSpPr>
          <p:nvPr userDrawn="1"/>
        </p:nvSpPr>
        <p:spPr>
          <a:xfrm>
            <a:off x="3460438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9D582DFC-3D0D-D5F8-AA6B-5676C8C4B3BF}"/>
              </a:ext>
            </a:extLst>
          </p:cNvPr>
          <p:cNvSpPr>
            <a:spLocks noChangeAspect="1"/>
          </p:cNvSpPr>
          <p:nvPr userDrawn="1"/>
        </p:nvSpPr>
        <p:spPr>
          <a:xfrm>
            <a:off x="6227970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DF486150-9219-560A-8B4F-FB551F786E68}"/>
              </a:ext>
            </a:extLst>
          </p:cNvPr>
          <p:cNvSpPr>
            <a:spLocks noChangeAspect="1"/>
          </p:cNvSpPr>
          <p:nvPr userDrawn="1"/>
        </p:nvSpPr>
        <p:spPr>
          <a:xfrm>
            <a:off x="8985924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18875"/>
            <a:ext cx="2767426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5" name="Text Placeholder 71">
            <a:extLst>
              <a:ext uri="{FF2B5EF4-FFF2-40B4-BE49-F238E27FC236}">
                <a16:creationId xmlns:a16="http://schemas.microsoft.com/office/drawing/2014/main" id="{799F0539-8B24-4E4B-EF4C-121B551D8B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4603" y="1818875"/>
            <a:ext cx="2746295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6" name="Text Placeholder 71">
            <a:extLst>
              <a:ext uri="{FF2B5EF4-FFF2-40B4-BE49-F238E27FC236}">
                <a16:creationId xmlns:a16="http://schemas.microsoft.com/office/drawing/2014/main" id="{9DFB2CE5-A177-E72D-3CD4-2646E4DCE50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00141" y="1818875"/>
            <a:ext cx="2745959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7" name="Text Placeholder 71">
            <a:extLst>
              <a:ext uri="{FF2B5EF4-FFF2-40B4-BE49-F238E27FC236}">
                <a16:creationId xmlns:a16="http://schemas.microsoft.com/office/drawing/2014/main" id="{7A262EC1-F639-E81C-3343-3DA348DA926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46100" y="1818875"/>
            <a:ext cx="2773719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0FE60C61-D20F-0DE2-38DC-62D2FAD3847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6471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7F661011-0524-7D80-F0B1-7EB66B450AD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361059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4">
            <a:extLst>
              <a:ext uri="{FF2B5EF4-FFF2-40B4-BE49-F238E27FC236}">
                <a16:creationId xmlns:a16="http://schemas.microsoft.com/office/drawing/2014/main" id="{5F501377-4DE1-C96B-B5CB-4675C424B7F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100140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Text Placeholder 4">
            <a:extLst>
              <a:ext uri="{FF2B5EF4-FFF2-40B4-BE49-F238E27FC236}">
                <a16:creationId xmlns:a16="http://schemas.microsoft.com/office/drawing/2014/main" id="{71120A03-3A4D-1301-C17A-86C4C160588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848429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7321941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/Milestones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id="{B7F29198-E920-459C-2862-C2C7FB6FEB6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495489908"/>
              </p:ext>
            </p:extLst>
          </p:nvPr>
        </p:nvGraphicFramePr>
        <p:xfrm>
          <a:off x="606585" y="2265316"/>
          <a:ext cx="11007610" cy="3618719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2201522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2456329606"/>
                    </a:ext>
                  </a:extLst>
                </a:gridCol>
              </a:tblGrid>
              <a:tr h="3618719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65316"/>
            <a:ext cx="11042014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47D58FC1-83B9-3BAD-C3EF-06E8D5DE120F}"/>
              </a:ext>
            </a:extLst>
          </p:cNvPr>
          <p:cNvSpPr>
            <a:spLocks noChangeAspect="1"/>
          </p:cNvSpPr>
          <p:nvPr userDrawn="1"/>
        </p:nvSpPr>
        <p:spPr>
          <a:xfrm>
            <a:off x="2892295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05995"/>
            <a:ext cx="2217229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5" name="Text Placeholder 71">
            <a:extLst>
              <a:ext uri="{FF2B5EF4-FFF2-40B4-BE49-F238E27FC236}">
                <a16:creationId xmlns:a16="http://schemas.microsoft.com/office/drawing/2014/main" id="{799F0539-8B24-4E4B-EF4C-121B551D8B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89882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0FE60C61-D20F-0DE2-38DC-62D2FAD3847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6471" y="2567720"/>
            <a:ext cx="2193481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7F661011-0524-7D80-F0B1-7EB66B450AD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806338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52428D8F-1413-2F6F-66F0-EA64E72C6F19}"/>
              </a:ext>
            </a:extLst>
          </p:cNvPr>
          <p:cNvSpPr>
            <a:spLocks noChangeAspect="1"/>
          </p:cNvSpPr>
          <p:nvPr userDrawn="1"/>
        </p:nvSpPr>
        <p:spPr>
          <a:xfrm>
            <a:off x="5108619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 Placeholder 71">
            <a:extLst>
              <a:ext uri="{FF2B5EF4-FFF2-40B4-BE49-F238E27FC236}">
                <a16:creationId xmlns:a16="http://schemas.microsoft.com/office/drawing/2014/main" id="{ED2B6425-619B-AFAF-1CF5-12D51DA095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06206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42048595-A0EA-7BB4-A2D8-622DB0779CAC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22662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E31A4FAF-CCB7-1F56-BEE2-622CF1A54FAB}"/>
              </a:ext>
            </a:extLst>
          </p:cNvPr>
          <p:cNvSpPr>
            <a:spLocks noChangeAspect="1"/>
          </p:cNvSpPr>
          <p:nvPr userDrawn="1"/>
        </p:nvSpPr>
        <p:spPr>
          <a:xfrm>
            <a:off x="7304231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 Placeholder 71">
            <a:extLst>
              <a:ext uri="{FF2B5EF4-FFF2-40B4-BE49-F238E27FC236}">
                <a16:creationId xmlns:a16="http://schemas.microsoft.com/office/drawing/2014/main" id="{AD33553F-FF2E-A084-58B1-CABD32043C6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01818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E55650A2-C067-405B-1B74-AC970B406C5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218274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965D2802-7493-9694-05E4-80CC2EF9B231}"/>
              </a:ext>
            </a:extLst>
          </p:cNvPr>
          <p:cNvSpPr>
            <a:spLocks noChangeAspect="1"/>
          </p:cNvSpPr>
          <p:nvPr userDrawn="1"/>
        </p:nvSpPr>
        <p:spPr>
          <a:xfrm>
            <a:off x="9512554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 Placeholder 71">
            <a:extLst>
              <a:ext uri="{FF2B5EF4-FFF2-40B4-BE49-F238E27FC236}">
                <a16:creationId xmlns:a16="http://schemas.microsoft.com/office/drawing/2014/main" id="{71110D7A-CD1D-2C97-57A0-9A17C8D3134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410141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4E1F3181-D3F3-3AA6-E3A7-A60D86BCE4F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426597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961624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/Milestones x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id="{B7F29198-E920-459C-2862-C2C7FB6FEB6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220648469"/>
              </p:ext>
            </p:extLst>
          </p:nvPr>
        </p:nvGraphicFramePr>
        <p:xfrm>
          <a:off x="577178" y="2265316"/>
          <a:ext cx="11007612" cy="3618719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1834602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2456329606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2168740535"/>
                    </a:ext>
                  </a:extLst>
                </a:gridCol>
              </a:tblGrid>
              <a:tr h="3618719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65315"/>
            <a:ext cx="11006985" cy="45719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0FE60C61-D20F-0DE2-38DC-62D2FAD3847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7178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178D6D93-FD32-F6AE-2A57-61C348C02B3E}"/>
              </a:ext>
            </a:extLst>
          </p:cNvPr>
          <p:cNvSpPr>
            <a:spLocks noChangeAspect="1"/>
          </p:cNvSpPr>
          <p:nvPr userDrawn="1"/>
        </p:nvSpPr>
        <p:spPr>
          <a:xfrm>
            <a:off x="2515019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Text Placeholder 71">
            <a:extLst>
              <a:ext uri="{FF2B5EF4-FFF2-40B4-BE49-F238E27FC236}">
                <a16:creationId xmlns:a16="http://schemas.microsoft.com/office/drawing/2014/main" id="{21AE5853-8A99-8A93-1D01-2F7FCE23E3D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411179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64" name="Text Placeholder 4">
            <a:extLst>
              <a:ext uri="{FF2B5EF4-FFF2-40B4-BE49-F238E27FC236}">
                <a16:creationId xmlns:a16="http://schemas.microsoft.com/office/drawing/2014/main" id="{1AA430BA-739B-1F40-97FF-53B14467EF8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411180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DC0E5BE5-8378-48E2-C8D1-F22E49536780}"/>
              </a:ext>
            </a:extLst>
          </p:cNvPr>
          <p:cNvSpPr>
            <a:spLocks noChangeAspect="1"/>
          </p:cNvSpPr>
          <p:nvPr userDrawn="1"/>
        </p:nvSpPr>
        <p:spPr>
          <a:xfrm>
            <a:off x="4364033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Text Placeholder 71">
            <a:extLst>
              <a:ext uri="{FF2B5EF4-FFF2-40B4-BE49-F238E27FC236}">
                <a16:creationId xmlns:a16="http://schemas.microsoft.com/office/drawing/2014/main" id="{DDCEF4C9-0B45-4A5E-2D03-31D3672575C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60193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67" name="Text Placeholder 4">
            <a:extLst>
              <a:ext uri="{FF2B5EF4-FFF2-40B4-BE49-F238E27FC236}">
                <a16:creationId xmlns:a16="http://schemas.microsoft.com/office/drawing/2014/main" id="{B994265A-DDDF-4B03-8D82-FB42EFBCBCE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260194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0F31CF81-312F-837D-5714-92C7014354C5}"/>
              </a:ext>
            </a:extLst>
          </p:cNvPr>
          <p:cNvSpPr>
            <a:spLocks noChangeAspect="1"/>
          </p:cNvSpPr>
          <p:nvPr userDrawn="1"/>
        </p:nvSpPr>
        <p:spPr>
          <a:xfrm>
            <a:off x="6199839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Text Placeholder 71">
            <a:extLst>
              <a:ext uri="{FF2B5EF4-FFF2-40B4-BE49-F238E27FC236}">
                <a16:creationId xmlns:a16="http://schemas.microsoft.com/office/drawing/2014/main" id="{62AEAA69-3020-A0FF-5608-7AFD7A5D29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095999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0" name="Text Placeholder 4">
            <a:extLst>
              <a:ext uri="{FF2B5EF4-FFF2-40B4-BE49-F238E27FC236}">
                <a16:creationId xmlns:a16="http://schemas.microsoft.com/office/drawing/2014/main" id="{79626162-0EE9-3BA8-0CDF-67028FE32F18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096000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D4AB8F32-B492-2CD9-826C-E5C5378592C9}"/>
              </a:ext>
            </a:extLst>
          </p:cNvPr>
          <p:cNvSpPr>
            <a:spLocks noChangeAspect="1"/>
          </p:cNvSpPr>
          <p:nvPr userDrawn="1"/>
        </p:nvSpPr>
        <p:spPr>
          <a:xfrm>
            <a:off x="8035644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3F1D7A91-7111-6E5C-279C-1B1D9695082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931804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3" name="Text Placeholder 4">
            <a:extLst>
              <a:ext uri="{FF2B5EF4-FFF2-40B4-BE49-F238E27FC236}">
                <a16:creationId xmlns:a16="http://schemas.microsoft.com/office/drawing/2014/main" id="{0E2562B9-545B-AF00-D9F9-44E167A11B93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7931805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A45C6367-A74F-1C2C-672E-F2E6078D3C68}"/>
              </a:ext>
            </a:extLst>
          </p:cNvPr>
          <p:cNvSpPr>
            <a:spLocks noChangeAspect="1"/>
          </p:cNvSpPr>
          <p:nvPr userDrawn="1"/>
        </p:nvSpPr>
        <p:spPr>
          <a:xfrm>
            <a:off x="9847196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Text Placeholder 71">
            <a:extLst>
              <a:ext uri="{FF2B5EF4-FFF2-40B4-BE49-F238E27FC236}">
                <a16:creationId xmlns:a16="http://schemas.microsoft.com/office/drawing/2014/main" id="{5865903F-F98B-94C0-7563-3A297E41DA2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743356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6" name="Text Placeholder 4">
            <a:extLst>
              <a:ext uri="{FF2B5EF4-FFF2-40B4-BE49-F238E27FC236}">
                <a16:creationId xmlns:a16="http://schemas.microsoft.com/office/drawing/2014/main" id="{CAB912CE-814A-19EE-2402-D55C72FA588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743357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958528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13">
            <a:extLst>
              <a:ext uri="{FF2B5EF4-FFF2-40B4-BE49-F238E27FC236}">
                <a16:creationId xmlns:a16="http://schemas.microsoft.com/office/drawing/2014/main" id="{85DA45A5-9E96-A540-A7CB-C6C50E73A7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5558"/>
            <a:ext cx="1304260" cy="480118"/>
          </a:xfrm>
          <a:prstGeom prst="rect">
            <a:avLst/>
          </a:prstGeom>
        </p:spPr>
      </p:pic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45CF2AFF-6382-CC47-A9B2-6962575BD2A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" y="0"/>
            <a:ext cx="6096001" cy="6858000"/>
          </a:xfrm>
          <a:prstGeom prst="round1Rect">
            <a:avLst>
              <a:gd name="adj" fmla="val 14462"/>
            </a:avLst>
          </a:prstGeo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ext Placeholder 29">
            <a:extLst>
              <a:ext uri="{FF2B5EF4-FFF2-40B4-BE49-F238E27FC236}">
                <a16:creationId xmlns:a16="http://schemas.microsoft.com/office/drawing/2014/main" id="{0061CA4A-3267-0A05-192C-5D4306FFB82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10" name="Text Placeholder 31">
            <a:extLst>
              <a:ext uri="{FF2B5EF4-FFF2-40B4-BE49-F238E27FC236}">
                <a16:creationId xmlns:a16="http://schemas.microsoft.com/office/drawing/2014/main" id="{1A9FCAB2-BA25-DBAB-7A6E-265C863487B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227401841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nual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Table 29">
            <a:extLst>
              <a:ext uri="{FF2B5EF4-FFF2-40B4-BE49-F238E27FC236}">
                <a16:creationId xmlns:a16="http://schemas.microsoft.com/office/drawing/2014/main" id="{803BAA2C-9254-B18D-A058-251E52C66E89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106880639"/>
              </p:ext>
            </p:extLst>
          </p:nvPr>
        </p:nvGraphicFramePr>
        <p:xfrm>
          <a:off x="606585" y="2278196"/>
          <a:ext cx="11007612" cy="3618726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917301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227914870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386396939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1442862435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496167856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936398145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3251811526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298212362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1474312375"/>
                    </a:ext>
                  </a:extLst>
                </a:gridCol>
              </a:tblGrid>
              <a:tr h="361872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78195"/>
            <a:ext cx="11036388" cy="45719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tx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47D58FC1-83B9-3BAD-C3EF-06E8D5DE120F}"/>
              </a:ext>
            </a:extLst>
          </p:cNvPr>
          <p:cNvSpPr>
            <a:spLocks noChangeAspect="1"/>
          </p:cNvSpPr>
          <p:nvPr userDrawn="1"/>
        </p:nvSpPr>
        <p:spPr>
          <a:xfrm>
            <a:off x="3460438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9D582DFC-3D0D-D5F8-AA6B-5676C8C4B3BF}"/>
              </a:ext>
            </a:extLst>
          </p:cNvPr>
          <p:cNvSpPr>
            <a:spLocks noChangeAspect="1"/>
          </p:cNvSpPr>
          <p:nvPr userDrawn="1"/>
        </p:nvSpPr>
        <p:spPr>
          <a:xfrm>
            <a:off x="6227970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DF486150-9219-560A-8B4F-FB551F786E68}"/>
              </a:ext>
            </a:extLst>
          </p:cNvPr>
          <p:cNvSpPr>
            <a:spLocks noChangeAspect="1"/>
          </p:cNvSpPr>
          <p:nvPr userDrawn="1"/>
        </p:nvSpPr>
        <p:spPr>
          <a:xfrm>
            <a:off x="8985924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18875"/>
            <a:ext cx="2767426" cy="300442"/>
          </a:xfrm>
        </p:spPr>
        <p:txBody>
          <a:bodyPr lIns="108000" rIns="288000" anchor="b" anchorCtr="0">
            <a:noAutofit/>
          </a:bodyPr>
          <a:lstStyle>
            <a:lvl1pPr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55" name="Text Placeholder 71">
            <a:extLst>
              <a:ext uri="{FF2B5EF4-FFF2-40B4-BE49-F238E27FC236}">
                <a16:creationId xmlns:a16="http://schemas.microsoft.com/office/drawing/2014/main" id="{799F0539-8B24-4E4B-EF4C-121B551D8B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4603" y="1818875"/>
            <a:ext cx="2746295" cy="300442"/>
          </a:xfrm>
        </p:spPr>
        <p:txBody>
          <a:bodyPr lIns="108000" rIns="288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56" name="Text Placeholder 71">
            <a:extLst>
              <a:ext uri="{FF2B5EF4-FFF2-40B4-BE49-F238E27FC236}">
                <a16:creationId xmlns:a16="http://schemas.microsoft.com/office/drawing/2014/main" id="{9DFB2CE5-A177-E72D-3CD4-2646E4DCE50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00141" y="1818875"/>
            <a:ext cx="2745959" cy="300442"/>
          </a:xfrm>
        </p:spPr>
        <p:txBody>
          <a:bodyPr lIns="108000" rIns="288000" anchor="b" anchorCtr="0">
            <a:noAutofit/>
          </a:bodyPr>
          <a:lstStyle>
            <a:lvl1pPr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57" name="Text Placeholder 71">
            <a:extLst>
              <a:ext uri="{FF2B5EF4-FFF2-40B4-BE49-F238E27FC236}">
                <a16:creationId xmlns:a16="http://schemas.microsoft.com/office/drawing/2014/main" id="{7A262EC1-F639-E81C-3343-3DA348DA926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46100" y="1818875"/>
            <a:ext cx="2773719" cy="300442"/>
          </a:xfrm>
        </p:spPr>
        <p:txBody>
          <a:bodyPr lIns="108000" rIns="288000" anchor="b" anchorCtr="0">
            <a:noAutofit/>
          </a:bodyPr>
          <a:lstStyle>
            <a:lvl1pPr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3031F97C-D610-4D45-F78B-D175D9A0E755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485839" y="2583275"/>
            <a:ext cx="8012329" cy="380567"/>
          </a:xfrm>
          <a:prstGeom prst="roundRect">
            <a:avLst>
              <a:gd name="adj" fmla="val 50000"/>
            </a:avLst>
          </a:prstGeom>
          <a:solidFill>
            <a:srgbClr val="E6E6E6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1FF72A2C-EC93-1960-E000-9D1BE3C473D1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718374" y="2588233"/>
            <a:ext cx="2451893" cy="380567"/>
          </a:xfrm>
          <a:prstGeom prst="roundRect">
            <a:avLst>
              <a:gd name="adj" fmla="val 50000"/>
            </a:avLst>
          </a:prstGeom>
          <a:solidFill>
            <a:schemeClr val="bg2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7B3311CB-DC37-BF2B-8E33-872990686A6F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020770" y="3112528"/>
            <a:ext cx="2477398" cy="380567"/>
          </a:xfrm>
          <a:prstGeom prst="roundRect">
            <a:avLst>
              <a:gd name="adj" fmla="val 50000"/>
            </a:avLst>
          </a:prstGeom>
          <a:solidFill>
            <a:schemeClr val="bg2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4C6A5BFA-3D10-182C-1A20-2F9F25DA5EC7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718374" y="3112528"/>
            <a:ext cx="8012329" cy="380567"/>
          </a:xfrm>
          <a:prstGeom prst="roundRect">
            <a:avLst>
              <a:gd name="adj" fmla="val 50000"/>
            </a:avLst>
          </a:prstGeom>
          <a:solidFill>
            <a:srgbClr val="E6E6E6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63D306BC-6AA0-5B15-EAD0-1C4B6C007AE2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718374" y="3636823"/>
            <a:ext cx="10779794" cy="380567"/>
          </a:xfrm>
          <a:prstGeom prst="roundRect">
            <a:avLst>
              <a:gd name="adj" fmla="val 50000"/>
            </a:avLst>
          </a:prstGeom>
          <a:solidFill>
            <a:schemeClr val="tx2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2F279148-11D1-D193-7504-E15A8DBBB7ED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1947773" y="4161117"/>
            <a:ext cx="9537643" cy="380567"/>
          </a:xfrm>
          <a:prstGeom prst="roundRect">
            <a:avLst>
              <a:gd name="adj" fmla="val 50000"/>
            </a:avLst>
          </a:prstGeom>
          <a:solidFill>
            <a:srgbClr val="E6E6E6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B7F7FC01-6091-5D90-D333-FA5671F43B8E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7492654" y="4685411"/>
            <a:ext cx="3986410" cy="380567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1239904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645879FE-583A-DE44-88BA-EB276A69E0F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5"/>
            <a:ext cx="11144930" cy="592778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29D7B8B-35CA-A145-A474-98CA941C8914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515938" y="2081213"/>
            <a:ext cx="11153775" cy="3832225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5479175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D54A1155-34EB-A04A-AA96-8DCEA2A0B8AF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515938" y="1304925"/>
            <a:ext cx="11160125" cy="4608513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</p:spTree>
    <p:extLst>
      <p:ext uri="{BB962C8B-B14F-4D97-AF65-F5344CB8AC3E}">
        <p14:creationId xmlns:p14="http://schemas.microsoft.com/office/powerpoint/2010/main" val="267440434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+ Intr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D54A1155-34EB-A04A-AA96-8DCEA2A0B8AF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515938" y="2186941"/>
            <a:ext cx="11160125" cy="3726497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0B67ED7-707C-628A-DD8C-8D05275A882F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531133" y="1304924"/>
            <a:ext cx="11144930" cy="760095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7766284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5F41B758-C970-D84A-B3ED-8A3CB892A83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762750" y="366371"/>
            <a:ext cx="4913313" cy="5547067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</p:spTree>
    <p:extLst>
      <p:ext uri="{BB962C8B-B14F-4D97-AF65-F5344CB8AC3E}">
        <p14:creationId xmlns:p14="http://schemas.microsoft.com/office/powerpoint/2010/main" val="190624578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Graph + Key 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2951067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5F41B758-C970-D84A-B3ED-8A3CB892A83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762750" y="366371"/>
            <a:ext cx="4913313" cy="5547067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  <p:sp>
        <p:nvSpPr>
          <p:cNvPr id="12" name="Table Placeholder 13">
            <a:extLst>
              <a:ext uri="{FF2B5EF4-FFF2-40B4-BE49-F238E27FC236}">
                <a16:creationId xmlns:a16="http://schemas.microsoft.com/office/drawing/2014/main" id="{0471F0B8-12A0-7A45-8C7A-E02063FE5C87}"/>
              </a:ext>
            </a:extLst>
          </p:cNvPr>
          <p:cNvSpPr>
            <a:spLocks noGrp="1"/>
          </p:cNvSpPr>
          <p:nvPr>
            <p:ph type="tbl" sz="quarter" idx="16" hasCustomPrompt="1"/>
          </p:nvPr>
        </p:nvSpPr>
        <p:spPr>
          <a:xfrm>
            <a:off x="531813" y="4531663"/>
            <a:ext cx="5564187" cy="1381775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here to insert table of key statistics</a:t>
            </a:r>
          </a:p>
        </p:txBody>
      </p:sp>
    </p:spTree>
    <p:extLst>
      <p:ext uri="{BB962C8B-B14F-4D97-AF65-F5344CB8AC3E}">
        <p14:creationId xmlns:p14="http://schemas.microsoft.com/office/powerpoint/2010/main" val="324340419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F7144900-27CB-F8C8-8750-EBFD50556D3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5937" y="1738603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BA371966-686F-3873-1B61-8D4F2F1781A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409056" y="1738603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71BA048F-6972-4609-34F2-EF8FDBBDBB0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34278" y="1915486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224FF60B-6BD0-9B1E-2959-11D6263640A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15937" y="3998564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2DB6CCCB-718D-70C8-7A09-2EE0D7144525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409056" y="3998564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6878B28-F503-455B-0FEA-80DE7090542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34278" y="4175447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AAADD6C4-F1D9-F92B-C5FD-4B4DA8B17CF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2333196" y="1915486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A5E09E69-6CAD-B355-9823-320AB8FAE66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333196" y="4175447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823684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x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Picture Placeholder 9">
            <a:extLst>
              <a:ext uri="{FF2B5EF4-FFF2-40B4-BE49-F238E27FC236}">
                <a16:creationId xmlns:a16="http://schemas.microsoft.com/office/drawing/2014/main" id="{9DD9632F-ADC6-0F07-8F3F-62F1AF846E1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5938" y="1711994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A6BDD17B-1F38-C02C-FBE9-A0D8E16AB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99411" y="1711994"/>
            <a:ext cx="2116757" cy="987159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4" name="Picture Placeholder 9">
            <a:extLst>
              <a:ext uri="{FF2B5EF4-FFF2-40B4-BE49-F238E27FC236}">
                <a16:creationId xmlns:a16="http://schemas.microsoft.com/office/drawing/2014/main" id="{25EC710C-2932-CFFF-F55D-955597F0FB3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335796" y="1711994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247CB122-DF3E-CDA7-027B-26E525434AE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527232" y="1711994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Picture Placeholder 9">
            <a:extLst>
              <a:ext uri="{FF2B5EF4-FFF2-40B4-BE49-F238E27FC236}">
                <a16:creationId xmlns:a16="http://schemas.microsoft.com/office/drawing/2014/main" id="{27971BF0-784D-F3CF-2C6F-CA518054204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220024" y="1711994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1" name="Text Placeholder 15">
            <a:extLst>
              <a:ext uri="{FF2B5EF4-FFF2-40B4-BE49-F238E27FC236}">
                <a16:creationId xmlns:a16="http://schemas.microsoft.com/office/drawing/2014/main" id="{0B2CA69D-267F-C90D-4248-B4C35F26DF7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411460" y="1711994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2" name="Picture Placeholder 9">
            <a:extLst>
              <a:ext uri="{FF2B5EF4-FFF2-40B4-BE49-F238E27FC236}">
                <a16:creationId xmlns:a16="http://schemas.microsoft.com/office/drawing/2014/main" id="{5897A2C1-9865-7BB8-2197-358370EFD4AC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15938" y="3155667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3" name="Text Placeholder 15">
            <a:extLst>
              <a:ext uri="{FF2B5EF4-FFF2-40B4-BE49-F238E27FC236}">
                <a16:creationId xmlns:a16="http://schemas.microsoft.com/office/drawing/2014/main" id="{62920B1E-EBA9-626D-6305-A1ADAE904D1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699411" y="3155667"/>
            <a:ext cx="2116757" cy="987159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4" name="Picture Placeholder 9">
            <a:extLst>
              <a:ext uri="{FF2B5EF4-FFF2-40B4-BE49-F238E27FC236}">
                <a16:creationId xmlns:a16="http://schemas.microsoft.com/office/drawing/2014/main" id="{544F1E77-8814-8A3B-D86A-076D4023ACA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335796" y="3155667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5" name="Text Placeholder 15">
            <a:extLst>
              <a:ext uri="{FF2B5EF4-FFF2-40B4-BE49-F238E27FC236}">
                <a16:creationId xmlns:a16="http://schemas.microsoft.com/office/drawing/2014/main" id="{C7619CC2-0DAA-26FC-AEAA-30394D48883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527232" y="3155667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6" name="Picture Placeholder 9">
            <a:extLst>
              <a:ext uri="{FF2B5EF4-FFF2-40B4-BE49-F238E27FC236}">
                <a16:creationId xmlns:a16="http://schemas.microsoft.com/office/drawing/2014/main" id="{8FAFCD1B-5A84-929A-D622-CC609C41B001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8220024" y="3155667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7" name="Text Placeholder 15">
            <a:extLst>
              <a:ext uri="{FF2B5EF4-FFF2-40B4-BE49-F238E27FC236}">
                <a16:creationId xmlns:a16="http://schemas.microsoft.com/office/drawing/2014/main" id="{32DEC219-4AAE-290C-5636-F2670570011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411460" y="3155667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8" name="Picture Placeholder 9">
            <a:extLst>
              <a:ext uri="{FF2B5EF4-FFF2-40B4-BE49-F238E27FC236}">
                <a16:creationId xmlns:a16="http://schemas.microsoft.com/office/drawing/2014/main" id="{B2CF404E-74E2-7F8B-678B-6E7F764D9BF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15938" y="4599456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9" name="Text Placeholder 15">
            <a:extLst>
              <a:ext uri="{FF2B5EF4-FFF2-40B4-BE49-F238E27FC236}">
                <a16:creationId xmlns:a16="http://schemas.microsoft.com/office/drawing/2014/main" id="{494146F5-9D36-2EF7-388E-A72B6DA0D9B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699411" y="4599456"/>
            <a:ext cx="2116757" cy="987159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Picture Placeholder 9">
            <a:extLst>
              <a:ext uri="{FF2B5EF4-FFF2-40B4-BE49-F238E27FC236}">
                <a16:creationId xmlns:a16="http://schemas.microsoft.com/office/drawing/2014/main" id="{B71BEAAD-C8C5-6988-5CBE-F7E30241059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4335796" y="4599456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1" name="Text Placeholder 15">
            <a:extLst>
              <a:ext uri="{FF2B5EF4-FFF2-40B4-BE49-F238E27FC236}">
                <a16:creationId xmlns:a16="http://schemas.microsoft.com/office/drawing/2014/main" id="{138E6919-019E-02BB-5D0D-FF9C12142411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27232" y="4599456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Picture Placeholder 9">
            <a:extLst>
              <a:ext uri="{FF2B5EF4-FFF2-40B4-BE49-F238E27FC236}">
                <a16:creationId xmlns:a16="http://schemas.microsoft.com/office/drawing/2014/main" id="{50AEE6D7-E551-8465-B986-00D61EB9730A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8220024" y="4599456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3" name="Text Placeholder 15">
            <a:extLst>
              <a:ext uri="{FF2B5EF4-FFF2-40B4-BE49-F238E27FC236}">
                <a16:creationId xmlns:a16="http://schemas.microsoft.com/office/drawing/2014/main" id="{EABA07AD-B083-3DC8-2E9C-6607785D0D9F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411460" y="4599456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7181144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x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Picture Placeholder 9">
            <a:extLst>
              <a:ext uri="{FF2B5EF4-FFF2-40B4-BE49-F238E27FC236}">
                <a16:creationId xmlns:a16="http://schemas.microsoft.com/office/drawing/2014/main" id="{9DD9632F-ADC6-0F07-8F3F-62F1AF846E1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5939" y="1711995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A6BDD17B-1F38-C02C-FBE9-A0D8E16AB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596367" y="1711995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9" name="Picture Placeholder 9">
            <a:extLst>
              <a:ext uri="{FF2B5EF4-FFF2-40B4-BE49-F238E27FC236}">
                <a16:creationId xmlns:a16="http://schemas.microsoft.com/office/drawing/2014/main" id="{0A36E1BF-5D7A-3667-C65B-2DB32E2BD388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515939" y="2786398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4" name="Text Placeholder 15">
            <a:extLst>
              <a:ext uri="{FF2B5EF4-FFF2-40B4-BE49-F238E27FC236}">
                <a16:creationId xmlns:a16="http://schemas.microsoft.com/office/drawing/2014/main" id="{A3EF6248-9648-B0CE-3E04-C8F8A63036EA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596367" y="2791091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Picture Placeholder 9">
            <a:extLst>
              <a:ext uri="{FF2B5EF4-FFF2-40B4-BE49-F238E27FC236}">
                <a16:creationId xmlns:a16="http://schemas.microsoft.com/office/drawing/2014/main" id="{C5444EBA-19D0-8678-BDDD-147CE44BC1E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515939" y="3870187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6" name="Text Placeholder 15">
            <a:extLst>
              <a:ext uri="{FF2B5EF4-FFF2-40B4-BE49-F238E27FC236}">
                <a16:creationId xmlns:a16="http://schemas.microsoft.com/office/drawing/2014/main" id="{7D5C4711-97F4-DDD0-D960-DEDF44E5F474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596367" y="3870187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7" name="Picture Placeholder 9">
            <a:extLst>
              <a:ext uri="{FF2B5EF4-FFF2-40B4-BE49-F238E27FC236}">
                <a16:creationId xmlns:a16="http://schemas.microsoft.com/office/drawing/2014/main" id="{E65DD9AF-BC5A-0D6D-203A-19C299826DFB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515939" y="4949284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8" name="Text Placeholder 15">
            <a:extLst>
              <a:ext uri="{FF2B5EF4-FFF2-40B4-BE49-F238E27FC236}">
                <a16:creationId xmlns:a16="http://schemas.microsoft.com/office/drawing/2014/main" id="{50F33994-9EA1-2A51-A537-50F4FB57B23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1596367" y="4949284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9" name="Picture Placeholder 9">
            <a:extLst>
              <a:ext uri="{FF2B5EF4-FFF2-40B4-BE49-F238E27FC236}">
                <a16:creationId xmlns:a16="http://schemas.microsoft.com/office/drawing/2014/main" id="{F4BC789A-02DE-1B25-C17D-56031BFFAC79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357530" y="1711995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0" name="Text Placeholder 15">
            <a:extLst>
              <a:ext uri="{FF2B5EF4-FFF2-40B4-BE49-F238E27FC236}">
                <a16:creationId xmlns:a16="http://schemas.microsoft.com/office/drawing/2014/main" id="{397D8B8C-1AD2-D2A1-C4BA-DC06F2B6EF69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5437958" y="1711995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1" name="Picture Placeholder 9">
            <a:extLst>
              <a:ext uri="{FF2B5EF4-FFF2-40B4-BE49-F238E27FC236}">
                <a16:creationId xmlns:a16="http://schemas.microsoft.com/office/drawing/2014/main" id="{96F24F90-0E84-D6E6-53DE-5CA754BCC220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4357530" y="2786398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2" name="Text Placeholder 15">
            <a:extLst>
              <a:ext uri="{FF2B5EF4-FFF2-40B4-BE49-F238E27FC236}">
                <a16:creationId xmlns:a16="http://schemas.microsoft.com/office/drawing/2014/main" id="{FEE53D37-03B9-FEA3-D9B3-377C5ACE8FBB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5437958" y="2791091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3" name="Picture Placeholder 9">
            <a:extLst>
              <a:ext uri="{FF2B5EF4-FFF2-40B4-BE49-F238E27FC236}">
                <a16:creationId xmlns:a16="http://schemas.microsoft.com/office/drawing/2014/main" id="{D91880C0-5866-3A2D-E9A1-293A080C3CBC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4357530" y="3870187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4" name="Text Placeholder 15">
            <a:extLst>
              <a:ext uri="{FF2B5EF4-FFF2-40B4-BE49-F238E27FC236}">
                <a16:creationId xmlns:a16="http://schemas.microsoft.com/office/drawing/2014/main" id="{68479F4A-C40B-C6DF-03E8-C507FF3D4573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5437958" y="3870187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5" name="Picture Placeholder 9">
            <a:extLst>
              <a:ext uri="{FF2B5EF4-FFF2-40B4-BE49-F238E27FC236}">
                <a16:creationId xmlns:a16="http://schemas.microsoft.com/office/drawing/2014/main" id="{C62DBBD6-D33E-DF74-5AE8-96D1913C8C20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4357530" y="4949284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6" name="Text Placeholder 15">
            <a:extLst>
              <a:ext uri="{FF2B5EF4-FFF2-40B4-BE49-F238E27FC236}">
                <a16:creationId xmlns:a16="http://schemas.microsoft.com/office/drawing/2014/main" id="{05529239-A4B5-258D-03F5-01D3ADFE8873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5437958" y="4949284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7" name="Picture Placeholder 9">
            <a:extLst>
              <a:ext uri="{FF2B5EF4-FFF2-40B4-BE49-F238E27FC236}">
                <a16:creationId xmlns:a16="http://schemas.microsoft.com/office/drawing/2014/main" id="{114AD459-859C-6C0F-FB75-4B02606E57BB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8199122" y="1711995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8" name="Text Placeholder 15">
            <a:extLst>
              <a:ext uri="{FF2B5EF4-FFF2-40B4-BE49-F238E27FC236}">
                <a16:creationId xmlns:a16="http://schemas.microsoft.com/office/drawing/2014/main" id="{4EAF0426-CCDA-221A-38EC-BBD417EBF569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9279550" y="1711995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9" name="Picture Placeholder 9">
            <a:extLst>
              <a:ext uri="{FF2B5EF4-FFF2-40B4-BE49-F238E27FC236}">
                <a16:creationId xmlns:a16="http://schemas.microsoft.com/office/drawing/2014/main" id="{EF2E7661-7F3A-851E-C60B-815DA8CE2A18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8199122" y="2786398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70" name="Text Placeholder 15">
            <a:extLst>
              <a:ext uri="{FF2B5EF4-FFF2-40B4-BE49-F238E27FC236}">
                <a16:creationId xmlns:a16="http://schemas.microsoft.com/office/drawing/2014/main" id="{8748A2D7-29EB-EEF8-E6A5-383DA278969D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9279550" y="2791091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1" name="Picture Placeholder 9">
            <a:extLst>
              <a:ext uri="{FF2B5EF4-FFF2-40B4-BE49-F238E27FC236}">
                <a16:creationId xmlns:a16="http://schemas.microsoft.com/office/drawing/2014/main" id="{E88761E4-7653-636A-0723-500AE4782BC6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8199122" y="3870187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72" name="Text Placeholder 15">
            <a:extLst>
              <a:ext uri="{FF2B5EF4-FFF2-40B4-BE49-F238E27FC236}">
                <a16:creationId xmlns:a16="http://schemas.microsoft.com/office/drawing/2014/main" id="{B10E2844-BD47-9C07-357D-9EA651BBCA67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9279550" y="3870187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3" name="Picture Placeholder 9">
            <a:extLst>
              <a:ext uri="{FF2B5EF4-FFF2-40B4-BE49-F238E27FC236}">
                <a16:creationId xmlns:a16="http://schemas.microsoft.com/office/drawing/2014/main" id="{310F2473-00CD-C33D-50C3-3F40271F3927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8199122" y="4949284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74" name="Text Placeholder 15">
            <a:extLst>
              <a:ext uri="{FF2B5EF4-FFF2-40B4-BE49-F238E27FC236}">
                <a16:creationId xmlns:a16="http://schemas.microsoft.com/office/drawing/2014/main" id="{789611C4-8E98-E2CF-35EB-922860C66E00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9279550" y="4949284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4928533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81187F35-DC43-A850-FE4F-7D60E8ED7A9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360000">
            <a:normAutofit/>
          </a:bodyPr>
          <a:lstStyle>
            <a:lvl1pPr marL="457200" indent="-457200">
              <a:spcBef>
                <a:spcPts val="1800"/>
              </a:spcBef>
              <a:spcAft>
                <a:spcPts val="600"/>
              </a:spcAft>
              <a:buClr>
                <a:schemeClr val="bg2"/>
              </a:buClr>
              <a:buFont typeface="+mj-lt"/>
              <a:buAutoNum type="arabicPeriod"/>
              <a:defRPr sz="2400" b="1">
                <a:solidFill>
                  <a:schemeClr val="tx2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2000" b="1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2000" b="1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800" b="1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1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419995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Image A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2F82B885-0103-7D42-AE00-61FB2FE0C2F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" y="0"/>
            <a:ext cx="6096001" cy="6858000"/>
          </a:xfrm>
          <a:custGeom>
            <a:avLst/>
            <a:gdLst>
              <a:gd name="connsiteX0" fmla="*/ 3022951 w 6096001"/>
              <a:gd name="connsiteY0" fmla="*/ 1876235 h 6858000"/>
              <a:gd name="connsiteX1" fmla="*/ 2208500 w 6096001"/>
              <a:gd name="connsiteY1" fmla="*/ 2461578 h 6858000"/>
              <a:gd name="connsiteX2" fmla="*/ 2208500 w 6096001"/>
              <a:gd name="connsiteY2" fmla="*/ 2993835 h 6858000"/>
              <a:gd name="connsiteX3" fmla="*/ 2859036 w 6096001"/>
              <a:gd name="connsiteY3" fmla="*/ 2643188 h 6858000"/>
              <a:gd name="connsiteX4" fmla="*/ 2859036 w 6096001"/>
              <a:gd name="connsiteY4" fmla="*/ 4981766 h 6858000"/>
              <a:gd name="connsiteX5" fmla="*/ 3371270 w 6096001"/>
              <a:gd name="connsiteY5" fmla="*/ 4981766 h 6858000"/>
              <a:gd name="connsiteX6" fmla="*/ 3371270 w 6096001"/>
              <a:gd name="connsiteY6" fmla="*/ 1876235 h 6858000"/>
              <a:gd name="connsiteX7" fmla="*/ 0 w 6096001"/>
              <a:gd name="connsiteY7" fmla="*/ 0 h 6858000"/>
              <a:gd name="connsiteX8" fmla="*/ 5214397 w 6096001"/>
              <a:gd name="connsiteY8" fmla="*/ 0 h 6858000"/>
              <a:gd name="connsiteX9" fmla="*/ 6096001 w 6096001"/>
              <a:gd name="connsiteY9" fmla="*/ 881604 h 6858000"/>
              <a:gd name="connsiteX10" fmla="*/ 6096001 w 6096001"/>
              <a:gd name="connsiteY10" fmla="*/ 6858000 h 6858000"/>
              <a:gd name="connsiteX11" fmla="*/ 0 w 6096001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096001" h="6858000">
                <a:moveTo>
                  <a:pt x="3022951" y="1876235"/>
                </a:moveTo>
                <a:cubicBezTo>
                  <a:pt x="2752748" y="2187766"/>
                  <a:pt x="2482545" y="2379155"/>
                  <a:pt x="2208500" y="2461578"/>
                </a:cubicBezTo>
                <a:lnTo>
                  <a:pt x="2208500" y="2993835"/>
                </a:lnTo>
                <a:cubicBezTo>
                  <a:pt x="2426199" y="2942146"/>
                  <a:pt x="2640057" y="2824798"/>
                  <a:pt x="2859036" y="2643188"/>
                </a:cubicBezTo>
                <a:lnTo>
                  <a:pt x="2859036" y="4981766"/>
                </a:lnTo>
                <a:lnTo>
                  <a:pt x="3371270" y="4981766"/>
                </a:lnTo>
                <a:lnTo>
                  <a:pt x="3371270" y="1876235"/>
                </a:lnTo>
                <a:close/>
                <a:moveTo>
                  <a:pt x="0" y="0"/>
                </a:moveTo>
                <a:lnTo>
                  <a:pt x="5214397" y="0"/>
                </a:lnTo>
                <a:cubicBezTo>
                  <a:pt x="5701293" y="0"/>
                  <a:pt x="6096001" y="394708"/>
                  <a:pt x="6096001" y="881604"/>
                </a:cubicBezTo>
                <a:lnTo>
                  <a:pt x="60960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720000">
            <a:no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986D095-697A-1E47-8E9F-EB12D0E9F60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5558"/>
            <a:ext cx="1304260" cy="480118"/>
          </a:xfrm>
          <a:prstGeom prst="rect">
            <a:avLst/>
          </a:prstGeom>
        </p:spPr>
      </p:pic>
      <p:sp>
        <p:nvSpPr>
          <p:cNvPr id="8" name="Text Placeholder 29">
            <a:extLst>
              <a:ext uri="{FF2B5EF4-FFF2-40B4-BE49-F238E27FC236}">
                <a16:creationId xmlns:a16="http://schemas.microsoft.com/office/drawing/2014/main" id="{814918A3-C773-18F8-ADDE-EC691CAF16C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9" name="Text Placeholder 31">
            <a:extLst>
              <a:ext uri="{FF2B5EF4-FFF2-40B4-BE49-F238E27FC236}">
                <a16:creationId xmlns:a16="http://schemas.microsoft.com/office/drawing/2014/main" id="{B0C1A345-F393-A646-D204-1844335C51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81875639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6275323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6275323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81187F35-DC43-A850-FE4F-7D60E8ED7A9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5376371" cy="4204608"/>
          </a:xfrm>
        </p:spPr>
        <p:txBody>
          <a:bodyPr numCol="1" spcCol="360000">
            <a:normAutofit/>
          </a:bodyPr>
          <a:lstStyle>
            <a:lvl1pPr marL="457200" indent="-45720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+mj-lt"/>
              <a:buAutoNum type="arabicPeriod"/>
              <a:defRPr sz="2400" b="1">
                <a:solidFill>
                  <a:schemeClr val="tx2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2000" b="1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2000" b="1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800" b="1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1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1F8B0E5-465B-1592-BFB3-5F01C3B0E690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132637" y="1708830"/>
            <a:ext cx="664405" cy="4204608"/>
          </a:xfrm>
        </p:spPr>
        <p:txBody>
          <a:bodyPr numCol="1" spcCol="360000">
            <a:normAutofit/>
          </a:bodyPr>
          <a:lstStyle>
            <a:lvl1pPr marL="0" indent="0" algn="r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+mj-lt"/>
              <a:buNone/>
              <a:defRPr sz="2400" b="0">
                <a:solidFill>
                  <a:schemeClr val="tx2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2000" b="1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2000" b="1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800" b="1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1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X</a:t>
            </a:r>
          </a:p>
          <a:p>
            <a:pPr lvl="0"/>
            <a:endParaRPr lang="en-GB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EA8C7E29-42A4-2542-6547-ACCD8C92B2B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7368539" y="366371"/>
            <a:ext cx="4307523" cy="5530549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6192730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555173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3895703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246692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– Dark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B746B08-255A-2748-8A21-40BE94A17FD1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581880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Key Stat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9290FAF2-2869-2B9B-5880-4EE57045BC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828" y="1249683"/>
            <a:ext cx="11208352" cy="2690816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r>
              <a:rPr lang="en-GB"/>
              <a:t>XXXXXX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0F9BA01A-4636-2441-F8D0-2E265BF7D8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B746B08-255A-2748-8A21-40BE94A17FD1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C751308-8682-E296-A343-1719555B3C95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A1AFB23D-B299-93C8-2304-575B5ED936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5" name="Picture 11">
            <a:extLst>
              <a:ext uri="{FF2B5EF4-FFF2-40B4-BE49-F238E27FC236}">
                <a16:creationId xmlns:a16="http://schemas.microsoft.com/office/drawing/2014/main" id="{A4BBC3E9-F3A2-C188-5A3A-9D714331C86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64AB32E5-85C1-B8E6-505F-2580C9B2E9E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6" y="4053840"/>
            <a:ext cx="6364924" cy="1668779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06546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ist_i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logo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3" name="slide_number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40D076A2-5E72-43BB-BCBB-CCBA1CB858B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7567" y="6340410"/>
            <a:ext cx="9758161" cy="376238"/>
          </a:xfrm>
        </p:spPr>
        <p:txBody>
          <a:bodyPr>
            <a:normAutofit/>
          </a:bodyPr>
          <a:lstStyle>
            <a:lvl1pPr>
              <a:defRPr sz="1400"/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_right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7484991" y="804721"/>
            <a:ext cx="4523581" cy="5307695"/>
          </a:xfrm>
        </p:spPr>
        <p:txBody>
          <a:bodyPr numCol="1" spcCol="180000" anchor="ctr"/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 marL="228600" indent="-228600">
              <a:lnSpc>
                <a:spcPct val="100000"/>
              </a:lnSpc>
              <a:spcAft>
                <a:spcPts val="1200"/>
              </a:spcAft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 marL="573088" indent="-231775">
              <a:lnSpc>
                <a:spcPct val="100000"/>
              </a:lnSpc>
              <a:spcAft>
                <a:spcPts val="1200"/>
              </a:spcAft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Aft>
                <a:spcPts val="1200"/>
              </a:spcAft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Aft>
                <a:spcPts val="1200"/>
              </a:spcAft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plot_left">
            <a:extLst>
              <a:ext uri="{FF2B5EF4-FFF2-40B4-BE49-F238E27FC236}">
                <a16:creationId xmlns:a16="http://schemas.microsoft.com/office/drawing/2014/main" id="{8457724F-C69E-3B6B-521F-734C42AB1AB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68226" y="775859"/>
            <a:ext cx="7216766" cy="54579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slide_title">
            <a:extLst>
              <a:ext uri="{FF2B5EF4-FFF2-40B4-BE49-F238E27FC236}">
                <a16:creationId xmlns:a16="http://schemas.microsoft.com/office/drawing/2014/main" id="{A6CCEA59-7244-B9A2-D299-FD2E5F09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6" y="247398"/>
            <a:ext cx="11407839" cy="592778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>
              <a:defRPr sz="2800"/>
            </a:lvl1pPr>
          </a:lstStyle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6927996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aterf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logo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5" name="footer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sp>
        <p:nvSpPr>
          <p:cNvPr id="13" name="slide_number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" name="plot">
            <a:extLst>
              <a:ext uri="{FF2B5EF4-FFF2-40B4-BE49-F238E27FC236}">
                <a16:creationId xmlns:a16="http://schemas.microsoft.com/office/drawing/2014/main" id="{8457724F-C69E-3B6B-521F-734C42AB1AB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119418" y="921875"/>
            <a:ext cx="7970981" cy="5092373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19579" y="951714"/>
            <a:ext cx="3516712" cy="5032694"/>
          </a:xfrm>
        </p:spPr>
        <p:txBody>
          <a:bodyPr numCol="1" spcCol="180000" anchor="ctr"/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 marL="341313" indent="-230188">
              <a:spcAft>
                <a:spcPts val="200"/>
              </a:spcAft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spcAft>
                <a:spcPts val="200"/>
              </a:spcAft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spcAft>
                <a:spcPts val="200"/>
              </a:spcAft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spcAft>
                <a:spcPts val="200"/>
              </a:spcAft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slide_title">
            <a:extLst>
              <a:ext uri="{FF2B5EF4-FFF2-40B4-BE49-F238E27FC236}">
                <a16:creationId xmlns:a16="http://schemas.microsoft.com/office/drawing/2014/main" id="{EC31F325-393A-0A7E-A10F-E302AAFF45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7" y="329096"/>
            <a:ext cx="11407839" cy="592778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>
              <a:defRPr sz="2800"/>
            </a:lvl1pPr>
          </a:lstStyle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5117271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3334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ED37A04-F126-4FCA-9D84-2292DE7D7D5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82F3B"/>
          </a:solidFill>
          <a:ln w="6350" cap="sq">
            <a:solidFill>
              <a:srgbClr val="082F3B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CE9BC4D-FFB4-400E-8188-E55DEF56D764}"/>
              </a:ext>
            </a:extLst>
          </p:cNvPr>
          <p:cNvSpPr/>
          <p:nvPr userDrawn="1"/>
        </p:nvSpPr>
        <p:spPr bwMode="ltGray">
          <a:xfrm>
            <a:off x="-1" y="0"/>
            <a:ext cx="12192001" cy="68584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 userDrawn="1">
            <p:ph type="body" sz="quarter" idx="13" hasCustomPrompt="1"/>
            <p:custDataLst>
              <p:tags r:id="rId4"/>
            </p:custDataLst>
          </p:nvPr>
        </p:nvSpPr>
        <p:spPr bwMode="ltGray">
          <a:xfrm>
            <a:off x="1232602" y="4479465"/>
            <a:ext cx="972679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1400" dirty="0">
                <a:solidFill>
                  <a:srgbClr val="E6D2C8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5"/>
            </p:custDataLst>
          </p:nvPr>
        </p:nvSpPr>
        <p:spPr bwMode="ltGray">
          <a:xfrm>
            <a:off x="1232602" y="3969621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2000" dirty="0">
                <a:solidFill>
                  <a:srgbClr val="E6D2C8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 userDrawn="1">
            <p:ph type="title"/>
            <p:custDataLst>
              <p:tags r:id="rId6"/>
            </p:custDataLst>
          </p:nvPr>
        </p:nvSpPr>
        <p:spPr bwMode="ltGray">
          <a:xfrm>
            <a:off x="1232602" y="2751892"/>
            <a:ext cx="9726795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 algn="ctr">
              <a:defRPr lang="en-US" sz="4400" dirty="0">
                <a:solidFill>
                  <a:srgbClr val="E6D2C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2007123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97613"/>
            <a:ext cx="11082528" cy="52322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40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454719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Image A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icture Placeholder 38">
            <a:extLst>
              <a:ext uri="{FF2B5EF4-FFF2-40B4-BE49-F238E27FC236}">
                <a16:creationId xmlns:a16="http://schemas.microsoft.com/office/drawing/2014/main" id="{785EFCE5-1951-3242-A232-F252911C4EA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" y="0"/>
            <a:ext cx="6096001" cy="6858000"/>
          </a:xfrm>
          <a:custGeom>
            <a:avLst/>
            <a:gdLst>
              <a:gd name="connsiteX0" fmla="*/ 3078800 w 6096001"/>
              <a:gd name="connsiteY0" fmla="*/ 1892300 h 6858000"/>
              <a:gd name="connsiteX1" fmla="*/ 2003079 w 6096001"/>
              <a:gd name="connsiteY1" fmla="*/ 2443193 h 6858000"/>
              <a:gd name="connsiteX2" fmla="*/ 2435905 w 6096001"/>
              <a:gd name="connsiteY2" fmla="*/ 2746603 h 6858000"/>
              <a:gd name="connsiteX3" fmla="*/ 3026635 w 6096001"/>
              <a:gd name="connsiteY3" fmla="*/ 2408238 h 6858000"/>
              <a:gd name="connsiteX4" fmla="*/ 3472150 w 6096001"/>
              <a:gd name="connsiteY4" fmla="*/ 2777364 h 6858000"/>
              <a:gd name="connsiteX5" fmla="*/ 2825026 w 6096001"/>
              <a:gd name="connsiteY5" fmla="*/ 3514218 h 6858000"/>
              <a:gd name="connsiteX6" fmla="*/ 1986161 w 6096001"/>
              <a:gd name="connsiteY6" fmla="*/ 4857893 h 6858000"/>
              <a:gd name="connsiteX7" fmla="*/ 1986161 w 6096001"/>
              <a:gd name="connsiteY7" fmla="*/ 5014492 h 6858000"/>
              <a:gd name="connsiteX8" fmla="*/ 4102356 w 6096001"/>
              <a:gd name="connsiteY8" fmla="*/ 5014492 h 6858000"/>
              <a:gd name="connsiteX9" fmla="*/ 4102356 w 6096001"/>
              <a:gd name="connsiteY9" fmla="*/ 4515333 h 6858000"/>
              <a:gd name="connsiteX10" fmla="*/ 2614957 w 6096001"/>
              <a:gd name="connsiteY10" fmla="*/ 4515333 h 6858000"/>
              <a:gd name="connsiteX11" fmla="*/ 3301557 w 6096001"/>
              <a:gd name="connsiteY11" fmla="*/ 3809239 h 6858000"/>
              <a:gd name="connsiteX12" fmla="*/ 4053011 w 6096001"/>
              <a:gd name="connsiteY12" fmla="*/ 2750798 h 6858000"/>
              <a:gd name="connsiteX13" fmla="*/ 3078800 w 6096001"/>
              <a:gd name="connsiteY13" fmla="*/ 1892300 h 6858000"/>
              <a:gd name="connsiteX14" fmla="*/ 0 w 6096001"/>
              <a:gd name="connsiteY14" fmla="*/ 0 h 6858000"/>
              <a:gd name="connsiteX15" fmla="*/ 5214397 w 6096001"/>
              <a:gd name="connsiteY15" fmla="*/ 0 h 6858000"/>
              <a:gd name="connsiteX16" fmla="*/ 6096001 w 6096001"/>
              <a:gd name="connsiteY16" fmla="*/ 881604 h 6858000"/>
              <a:gd name="connsiteX17" fmla="*/ 6096001 w 6096001"/>
              <a:gd name="connsiteY17" fmla="*/ 6858000 h 6858000"/>
              <a:gd name="connsiteX18" fmla="*/ 0 w 6096001"/>
              <a:gd name="connsiteY1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6096001" h="6858000">
                <a:moveTo>
                  <a:pt x="3078800" y="1892300"/>
                </a:moveTo>
                <a:cubicBezTo>
                  <a:pt x="2571252" y="1892300"/>
                  <a:pt x="2235706" y="2082456"/>
                  <a:pt x="2003079" y="2443193"/>
                </a:cubicBezTo>
                <a:lnTo>
                  <a:pt x="2435905" y="2746603"/>
                </a:lnTo>
                <a:cubicBezTo>
                  <a:pt x="2576891" y="2529882"/>
                  <a:pt x="2768632" y="2408238"/>
                  <a:pt x="3026635" y="2408238"/>
                </a:cubicBezTo>
                <a:cubicBezTo>
                  <a:pt x="3318476" y="2408238"/>
                  <a:pt x="3472150" y="2556447"/>
                  <a:pt x="3472150" y="2777364"/>
                </a:cubicBezTo>
                <a:cubicBezTo>
                  <a:pt x="3472150" y="3020651"/>
                  <a:pt x="3301557" y="3198224"/>
                  <a:pt x="2825026" y="3514218"/>
                </a:cubicBezTo>
                <a:cubicBezTo>
                  <a:pt x="2231476" y="3916901"/>
                  <a:pt x="1986161" y="4315389"/>
                  <a:pt x="1986161" y="4857893"/>
                </a:cubicBezTo>
                <a:lnTo>
                  <a:pt x="1986161" y="5014492"/>
                </a:lnTo>
                <a:lnTo>
                  <a:pt x="4102356" y="5014492"/>
                </a:lnTo>
                <a:lnTo>
                  <a:pt x="4102356" y="4515333"/>
                </a:lnTo>
                <a:lnTo>
                  <a:pt x="2614957" y="4515333"/>
                </a:lnTo>
                <a:cubicBezTo>
                  <a:pt x="2645974" y="4346150"/>
                  <a:pt x="2891289" y="4081889"/>
                  <a:pt x="3301557" y="3809239"/>
                </a:cubicBezTo>
                <a:cubicBezTo>
                  <a:pt x="3834483" y="3456891"/>
                  <a:pt x="4053011" y="3175852"/>
                  <a:pt x="4053011" y="2750798"/>
                </a:cubicBezTo>
                <a:cubicBezTo>
                  <a:pt x="4053011" y="2255833"/>
                  <a:pt x="3646972" y="1892300"/>
                  <a:pt x="3078800" y="1892300"/>
                </a:cubicBezTo>
                <a:close/>
                <a:moveTo>
                  <a:pt x="0" y="0"/>
                </a:moveTo>
                <a:lnTo>
                  <a:pt x="5214397" y="0"/>
                </a:lnTo>
                <a:cubicBezTo>
                  <a:pt x="5701293" y="0"/>
                  <a:pt x="6096001" y="394708"/>
                  <a:pt x="6096001" y="881604"/>
                </a:cubicBezTo>
                <a:lnTo>
                  <a:pt x="60960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720000">
            <a:no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40" name="Graphic 39">
            <a:extLst>
              <a:ext uri="{FF2B5EF4-FFF2-40B4-BE49-F238E27FC236}">
                <a16:creationId xmlns:a16="http://schemas.microsoft.com/office/drawing/2014/main" id="{A70D9B68-451F-F24D-9AD8-10CAC455266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5558"/>
            <a:ext cx="1304260" cy="480118"/>
          </a:xfrm>
          <a:prstGeom prst="rect">
            <a:avLst/>
          </a:prstGeom>
        </p:spPr>
      </p:pic>
      <p:sp>
        <p:nvSpPr>
          <p:cNvPr id="6" name="Text Placeholder 29">
            <a:extLst>
              <a:ext uri="{FF2B5EF4-FFF2-40B4-BE49-F238E27FC236}">
                <a16:creationId xmlns:a16="http://schemas.microsoft.com/office/drawing/2014/main" id="{AD887088-580E-3280-834E-11FE0CAB12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7" name="Text Placeholder 31">
            <a:extLst>
              <a:ext uri="{FF2B5EF4-FFF2-40B4-BE49-F238E27FC236}">
                <a16:creationId xmlns:a16="http://schemas.microsoft.com/office/drawing/2014/main" id="{9D3AEDA3-676C-74F6-E9E7-0A9358720A3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338959295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4736" y="2085628"/>
            <a:ext cx="11082528" cy="4089131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800" b="1">
                <a:solidFill>
                  <a:srgbClr val="082F3B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800"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97613"/>
            <a:ext cx="11082528" cy="52322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40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914575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554736" y="1544274"/>
            <a:ext cx="3527664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226591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0074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ox">
    <p:bg bwMode="grayWhite"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54735" y="2668041"/>
            <a:ext cx="11082528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554736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3226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54736" y="3826800"/>
            <a:ext cx="11082528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554736" y="3680016"/>
            <a:ext cx="11640466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48579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554736" y="2681103"/>
            <a:ext cx="3203145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2942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54736" y="197613"/>
            <a:ext cx="6332064" cy="52322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40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1585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554736" y="2681103"/>
            <a:ext cx="3203145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7" y="41597"/>
            <a:ext cx="1941395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0868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>
            <a:noAutofit/>
          </a:bodyPr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54736" y="1785600"/>
            <a:ext cx="4463664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6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320191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4996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-1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54736" y="1804650"/>
            <a:ext cx="6322816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4183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2"/>
          <p:cNvSpPr>
            <a:spLocks noGrp="1"/>
          </p:cNvSpPr>
          <p:nvPr>
            <p:ph type="title" hasCustomPrompt="1"/>
          </p:nvPr>
        </p:nvSpPr>
        <p:spPr>
          <a:xfrm>
            <a:off x="554736" y="2764203"/>
            <a:ext cx="2553902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1292152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03529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Image A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36D7151-EE44-6D41-A861-17BC5B8F000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" y="0"/>
            <a:ext cx="6096001" cy="6858000"/>
          </a:xfrm>
          <a:custGeom>
            <a:avLst/>
            <a:gdLst>
              <a:gd name="connsiteX0" fmla="*/ 3115819 w 6096001"/>
              <a:gd name="connsiteY0" fmla="*/ 1901215 h 6858000"/>
              <a:gd name="connsiteX1" fmla="*/ 2096475 w 6096001"/>
              <a:gd name="connsiteY1" fmla="*/ 2469051 h 6858000"/>
              <a:gd name="connsiteX2" fmla="*/ 2517092 w 6096001"/>
              <a:gd name="connsiteY2" fmla="*/ 2737003 h 6858000"/>
              <a:gd name="connsiteX3" fmla="*/ 3061016 w 6096001"/>
              <a:gd name="connsiteY3" fmla="*/ 2401022 h 6858000"/>
              <a:gd name="connsiteX4" fmla="*/ 3455600 w 6096001"/>
              <a:gd name="connsiteY4" fmla="*/ 2732838 h 6858000"/>
              <a:gd name="connsiteX5" fmla="*/ 2725345 w 6096001"/>
              <a:gd name="connsiteY5" fmla="*/ 3202101 h 6858000"/>
              <a:gd name="connsiteX6" fmla="*/ 2725345 w 6096001"/>
              <a:gd name="connsiteY6" fmla="*/ 3663034 h 6858000"/>
              <a:gd name="connsiteX7" fmla="*/ 3570688 w 6096001"/>
              <a:gd name="connsiteY7" fmla="*/ 4110083 h 6858000"/>
              <a:gd name="connsiteX8" fmla="*/ 3044575 w 6096001"/>
              <a:gd name="connsiteY8" fmla="*/ 4544637 h 6858000"/>
              <a:gd name="connsiteX9" fmla="*/ 2300618 w 6096001"/>
              <a:gd name="connsiteY9" fmla="*/ 4273909 h 6858000"/>
              <a:gd name="connsiteX10" fmla="*/ 1977278 w 6096001"/>
              <a:gd name="connsiteY10" fmla="*/ 4712628 h 6858000"/>
              <a:gd name="connsiteX11" fmla="*/ 1978648 w 6096001"/>
              <a:gd name="connsiteY11" fmla="*/ 4711240 h 6858000"/>
              <a:gd name="connsiteX12" fmla="*/ 3048685 w 6096001"/>
              <a:gd name="connsiteY12" fmla="*/ 5043056 h 6858000"/>
              <a:gd name="connsiteX13" fmla="*/ 4118722 w 6096001"/>
              <a:gd name="connsiteY13" fmla="*/ 4126744 h 6858000"/>
              <a:gd name="connsiteX14" fmla="*/ 3455600 w 6096001"/>
              <a:gd name="connsiteY14" fmla="*/ 3360373 h 6858000"/>
              <a:gd name="connsiteX15" fmla="*/ 3999524 w 6096001"/>
              <a:gd name="connsiteY15" fmla="*/ 2628712 h 6858000"/>
              <a:gd name="connsiteX16" fmla="*/ 3115819 w 6096001"/>
              <a:gd name="connsiteY16" fmla="*/ 1901215 h 6858000"/>
              <a:gd name="connsiteX17" fmla="*/ 0 w 6096001"/>
              <a:gd name="connsiteY17" fmla="*/ 0 h 6858000"/>
              <a:gd name="connsiteX18" fmla="*/ 5214397 w 6096001"/>
              <a:gd name="connsiteY18" fmla="*/ 0 h 6858000"/>
              <a:gd name="connsiteX19" fmla="*/ 6096001 w 6096001"/>
              <a:gd name="connsiteY19" fmla="*/ 881604 h 6858000"/>
              <a:gd name="connsiteX20" fmla="*/ 6096001 w 6096001"/>
              <a:gd name="connsiteY20" fmla="*/ 6858000 h 6858000"/>
              <a:gd name="connsiteX21" fmla="*/ 0 w 6096001"/>
              <a:gd name="connsiteY2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6096001" h="6858000">
                <a:moveTo>
                  <a:pt x="3115819" y="1901215"/>
                </a:moveTo>
                <a:cubicBezTo>
                  <a:pt x="2614368" y="1901215"/>
                  <a:pt x="2278697" y="2128905"/>
                  <a:pt x="2096475" y="2469051"/>
                </a:cubicBezTo>
                <a:lnTo>
                  <a:pt x="2517092" y="2737003"/>
                </a:lnTo>
                <a:cubicBezTo>
                  <a:pt x="2602037" y="2581508"/>
                  <a:pt x="2780148" y="2401022"/>
                  <a:pt x="3061016" y="2401022"/>
                </a:cubicBezTo>
                <a:cubicBezTo>
                  <a:pt x="3302151" y="2401022"/>
                  <a:pt x="3455600" y="2534304"/>
                  <a:pt x="3455600" y="2732838"/>
                </a:cubicBezTo>
                <a:cubicBezTo>
                  <a:pt x="3455600" y="2964693"/>
                  <a:pt x="3285710" y="3197936"/>
                  <a:pt x="2725345" y="3202101"/>
                </a:cubicBezTo>
                <a:lnTo>
                  <a:pt x="2725345" y="3663034"/>
                </a:lnTo>
                <a:cubicBezTo>
                  <a:pt x="3303521" y="3663034"/>
                  <a:pt x="3570688" y="3825471"/>
                  <a:pt x="3570688" y="4110083"/>
                </a:cubicBezTo>
                <a:cubicBezTo>
                  <a:pt x="3570688" y="4372481"/>
                  <a:pt x="3384356" y="4544637"/>
                  <a:pt x="3044575" y="4544637"/>
                </a:cubicBezTo>
                <a:cubicBezTo>
                  <a:pt x="2737676" y="4544637"/>
                  <a:pt x="2504761" y="4433570"/>
                  <a:pt x="2300618" y="4273909"/>
                </a:cubicBezTo>
                <a:lnTo>
                  <a:pt x="1977278" y="4712628"/>
                </a:lnTo>
                <a:lnTo>
                  <a:pt x="1978648" y="4711240"/>
                </a:lnTo>
                <a:cubicBezTo>
                  <a:pt x="2271846" y="4926434"/>
                  <a:pt x="2581486" y="5043056"/>
                  <a:pt x="3048685" y="5043056"/>
                </a:cubicBezTo>
                <a:cubicBezTo>
                  <a:pt x="3698106" y="5043056"/>
                  <a:pt x="4118722" y="4659870"/>
                  <a:pt x="4118722" y="4126744"/>
                </a:cubicBezTo>
                <a:cubicBezTo>
                  <a:pt x="4118722" y="3708850"/>
                  <a:pt x="3863886" y="3468665"/>
                  <a:pt x="3455600" y="3360373"/>
                </a:cubicBezTo>
                <a:cubicBezTo>
                  <a:pt x="3791271" y="3239587"/>
                  <a:pt x="3999524" y="2999402"/>
                  <a:pt x="3999524" y="2628712"/>
                </a:cubicBezTo>
                <a:cubicBezTo>
                  <a:pt x="3999524" y="2206653"/>
                  <a:pt x="3617271" y="1901215"/>
                  <a:pt x="3115819" y="1901215"/>
                </a:cubicBezTo>
                <a:close/>
                <a:moveTo>
                  <a:pt x="0" y="0"/>
                </a:moveTo>
                <a:lnTo>
                  <a:pt x="5214397" y="0"/>
                </a:lnTo>
                <a:cubicBezTo>
                  <a:pt x="5701293" y="0"/>
                  <a:pt x="6096001" y="394708"/>
                  <a:pt x="6096001" y="881604"/>
                </a:cubicBezTo>
                <a:lnTo>
                  <a:pt x="60960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720000">
            <a:no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85DA45A5-9E96-A540-A7CB-C6C50E73A7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5558"/>
            <a:ext cx="1304260" cy="480118"/>
          </a:xfrm>
          <a:prstGeom prst="rect">
            <a:avLst/>
          </a:prstGeom>
        </p:spPr>
      </p:pic>
      <p:sp>
        <p:nvSpPr>
          <p:cNvPr id="8" name="Text Placeholder 29">
            <a:extLst>
              <a:ext uri="{FF2B5EF4-FFF2-40B4-BE49-F238E27FC236}">
                <a16:creationId xmlns:a16="http://schemas.microsoft.com/office/drawing/2014/main" id="{B2461434-5D17-DC5F-DC1A-E69D4E2BBC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9" name="Text Placeholder 31">
            <a:extLst>
              <a:ext uri="{FF2B5EF4-FFF2-40B4-BE49-F238E27FC236}">
                <a16:creationId xmlns:a16="http://schemas.microsoft.com/office/drawing/2014/main" id="{63FD04FF-C6D3-AE64-9C91-6E3CEBDB6B0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77197271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82F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54736" y="2764203"/>
            <a:ext cx="2553902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0" name="TextBox 9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1292152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0864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24" imgH="324" progId="TCLayout.ActiveDocument.1">
                  <p:embed/>
                </p:oleObj>
              </mc:Choice>
              <mc:Fallback>
                <p:oleObj name="think-cell Slide" r:id="rId6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b="1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54736" y="1785600"/>
            <a:ext cx="4137499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7" y="41597"/>
            <a:ext cx="287574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926383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082F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54736" y="1785600"/>
            <a:ext cx="4137499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TextBox 9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7" y="41597"/>
            <a:ext cx="287574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3823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197613"/>
            <a:ext cx="4748910" cy="52322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40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1816486" y="41597"/>
            <a:ext cx="348716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14478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082F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54736" y="197613"/>
            <a:ext cx="4748910" cy="52322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4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1816486" y="41597"/>
            <a:ext cx="348716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4682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197613"/>
            <a:ext cx="6332064" cy="52322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816486" y="41597"/>
            <a:ext cx="348716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83599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082F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54736" y="197613"/>
            <a:ext cx="6332064" cy="52322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4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48716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assified as Internal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8694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54736" y="3826333"/>
            <a:ext cx="11082528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213215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554736" y="625475"/>
            <a:ext cx="932688" cy="932688"/>
          </a:xfrm>
          <a:prstGeom prst="rect">
            <a:avLst/>
          </a:prstGeom>
          <a:noFill/>
          <a:ln>
            <a:solidFill>
              <a:srgbClr val="082F3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54736" y="3826333"/>
            <a:ext cx="11082528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3727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1B9EC7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24966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Image 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8AEA1B93-DB0B-33C4-6C50-8FD2474CA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1" cy="6858000"/>
          </a:xfrm>
          <a:custGeom>
            <a:avLst/>
            <a:gdLst>
              <a:gd name="connsiteX0" fmla="*/ 3218999 w 6096001"/>
              <a:gd name="connsiteY0" fmla="*/ 2668987 h 6858000"/>
              <a:gd name="connsiteX1" fmla="*/ 3218999 w 6096001"/>
              <a:gd name="connsiteY1" fmla="*/ 3752595 h 6858000"/>
              <a:gd name="connsiteX2" fmla="*/ 2442001 w 6096001"/>
              <a:gd name="connsiteY2" fmla="*/ 3752595 h 6858000"/>
              <a:gd name="connsiteX3" fmla="*/ 3218999 w 6096001"/>
              <a:gd name="connsiteY3" fmla="*/ 1883188 h 6858000"/>
              <a:gd name="connsiteX4" fmla="*/ 1820976 w 6096001"/>
              <a:gd name="connsiteY4" fmla="*/ 3839578 h 6858000"/>
              <a:gd name="connsiteX5" fmla="*/ 1820976 w 6096001"/>
              <a:gd name="connsiteY5" fmla="*/ 4242061 h 6858000"/>
              <a:gd name="connsiteX6" fmla="*/ 3218999 w 6096001"/>
              <a:gd name="connsiteY6" fmla="*/ 4242061 h 6858000"/>
              <a:gd name="connsiteX7" fmla="*/ 3218999 w 6096001"/>
              <a:gd name="connsiteY7" fmla="*/ 5164970 h 6858000"/>
              <a:gd name="connsiteX8" fmla="*/ 3791372 w 6096001"/>
              <a:gd name="connsiteY8" fmla="*/ 5164970 h 6858000"/>
              <a:gd name="connsiteX9" fmla="*/ 3791372 w 6096001"/>
              <a:gd name="connsiteY9" fmla="*/ 4242061 h 6858000"/>
              <a:gd name="connsiteX10" fmla="*/ 4275028 w 6096001"/>
              <a:gd name="connsiteY10" fmla="*/ 4242061 h 6858000"/>
              <a:gd name="connsiteX11" fmla="*/ 4275028 w 6096001"/>
              <a:gd name="connsiteY11" fmla="*/ 3752595 h 6858000"/>
              <a:gd name="connsiteX12" fmla="*/ 3791372 w 6096001"/>
              <a:gd name="connsiteY12" fmla="*/ 3752595 h 6858000"/>
              <a:gd name="connsiteX13" fmla="*/ 3791372 w 6096001"/>
              <a:gd name="connsiteY13" fmla="*/ 1883188 h 6858000"/>
              <a:gd name="connsiteX14" fmla="*/ 0 w 6096001"/>
              <a:gd name="connsiteY14" fmla="*/ 0 h 6858000"/>
              <a:gd name="connsiteX15" fmla="*/ 5214397 w 6096001"/>
              <a:gd name="connsiteY15" fmla="*/ 0 h 6858000"/>
              <a:gd name="connsiteX16" fmla="*/ 6096001 w 6096001"/>
              <a:gd name="connsiteY16" fmla="*/ 881604 h 6858000"/>
              <a:gd name="connsiteX17" fmla="*/ 6096001 w 6096001"/>
              <a:gd name="connsiteY17" fmla="*/ 6858000 h 6858000"/>
              <a:gd name="connsiteX18" fmla="*/ 0 w 6096001"/>
              <a:gd name="connsiteY1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6096001" h="6858000">
                <a:moveTo>
                  <a:pt x="3218999" y="2668987"/>
                </a:moveTo>
                <a:lnTo>
                  <a:pt x="3218999" y="3752595"/>
                </a:lnTo>
                <a:lnTo>
                  <a:pt x="2442001" y="3752595"/>
                </a:lnTo>
                <a:close/>
                <a:moveTo>
                  <a:pt x="3218999" y="1883188"/>
                </a:moveTo>
                <a:lnTo>
                  <a:pt x="1820976" y="3839578"/>
                </a:lnTo>
                <a:lnTo>
                  <a:pt x="1820976" y="4242061"/>
                </a:lnTo>
                <a:lnTo>
                  <a:pt x="3218999" y="4242061"/>
                </a:lnTo>
                <a:lnTo>
                  <a:pt x="3218999" y="5164970"/>
                </a:lnTo>
                <a:lnTo>
                  <a:pt x="3791372" y="5164970"/>
                </a:lnTo>
                <a:lnTo>
                  <a:pt x="3791372" y="4242061"/>
                </a:lnTo>
                <a:lnTo>
                  <a:pt x="4275028" y="4242061"/>
                </a:lnTo>
                <a:lnTo>
                  <a:pt x="4275028" y="3752595"/>
                </a:lnTo>
                <a:lnTo>
                  <a:pt x="3791372" y="3752595"/>
                </a:lnTo>
                <a:lnTo>
                  <a:pt x="3791372" y="1883188"/>
                </a:lnTo>
                <a:close/>
                <a:moveTo>
                  <a:pt x="0" y="0"/>
                </a:moveTo>
                <a:lnTo>
                  <a:pt x="5214397" y="0"/>
                </a:lnTo>
                <a:cubicBezTo>
                  <a:pt x="5701293" y="0"/>
                  <a:pt x="6096001" y="394708"/>
                  <a:pt x="6096001" y="881604"/>
                </a:cubicBezTo>
                <a:lnTo>
                  <a:pt x="60960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85DA45A5-9E96-A540-A7CB-C6C50E73A7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5558"/>
            <a:ext cx="1304260" cy="480118"/>
          </a:xfrm>
          <a:prstGeom prst="rect">
            <a:avLst/>
          </a:prstGeom>
        </p:spPr>
      </p:pic>
      <p:sp>
        <p:nvSpPr>
          <p:cNvPr id="8" name="Text Placeholder 29">
            <a:extLst>
              <a:ext uri="{FF2B5EF4-FFF2-40B4-BE49-F238E27FC236}">
                <a16:creationId xmlns:a16="http://schemas.microsoft.com/office/drawing/2014/main" id="{3314B818-1A45-4088-0941-EB7C6968EA1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9" name="Text Placeholder 31">
            <a:extLst>
              <a:ext uri="{FF2B5EF4-FFF2-40B4-BE49-F238E27FC236}">
                <a16:creationId xmlns:a16="http://schemas.microsoft.com/office/drawing/2014/main" id="{5C3A23D4-78BE-16F7-8E29-ADEBA311D0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85690267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97613"/>
            <a:ext cx="11082528" cy="52322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4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assified as Internal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1639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825893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solidFill>
          <a:srgbClr val="082F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5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960BD9BD-BD8A-4FDC-94A5-E70570E8E71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116737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809135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2E320337-4448-4A41-97CD-D612E7679AE8}"/>
              </a:ext>
            </a:extLst>
          </p:cNvPr>
          <p:cNvSpPr/>
          <p:nvPr userDrawn="1"/>
        </p:nvSpPr>
        <p:spPr bwMode="ltGray">
          <a:xfrm>
            <a:off x="-1" y="0"/>
            <a:ext cx="12192001" cy="68584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694540B-7619-4C7B-9C99-2940C1B16A7F}"/>
              </a:ext>
            </a:extLst>
          </p:cNvPr>
          <p:cNvSpPr txBox="1"/>
          <p:nvPr userDrawn="1"/>
        </p:nvSpPr>
        <p:spPr bwMode="ltGray">
          <a:xfrm>
            <a:off x="4063999" y="3152001"/>
            <a:ext cx="4064000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3600" b="1">
                <a:solidFill>
                  <a:srgbClr val="E6D2C8"/>
                </a:solidFill>
                <a:latin typeface="+mn-lt"/>
                <a:ea typeface="+mn-ea"/>
                <a:cs typeface="+mn-cs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523465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3299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03395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84" imgH="384" progId="TCLayout.ActiveDocument.1">
                  <p:embed/>
                </p:oleObj>
              </mc:Choice>
              <mc:Fallback>
                <p:oleObj name="think-cell Slide" r:id="rId7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CE9BC4D-FFB4-400E-8188-E55DEF56D764}"/>
              </a:ext>
            </a:extLst>
          </p:cNvPr>
          <p:cNvSpPr/>
          <p:nvPr userDrawn="1"/>
        </p:nvSpPr>
        <p:spPr bwMode="ltGray">
          <a:xfrm>
            <a:off x="-1" y="0"/>
            <a:ext cx="12192001" cy="68584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Documenttype">
            <a:extLst>
              <a:ext uri="{FF2B5EF4-FFF2-40B4-BE49-F238E27FC236}">
                <a16:creationId xmlns:a16="http://schemas.microsoft.com/office/drawing/2014/main" id="{24FC41D4-E264-454C-BE80-FF85308524B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 bwMode="ltGray">
          <a:xfrm>
            <a:off x="1232602" y="4479465"/>
            <a:ext cx="972679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1400" dirty="0">
                <a:solidFill>
                  <a:srgbClr val="E6D2C8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2D2EB616-DAF9-44D8-B0A4-A8613EF11F70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 bwMode="ltGray">
          <a:xfrm>
            <a:off x="1232602" y="3969621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2000" dirty="0">
                <a:solidFill>
                  <a:srgbClr val="E6D2C8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1" name="Title">
            <a:extLst>
              <a:ext uri="{FF2B5EF4-FFF2-40B4-BE49-F238E27FC236}">
                <a16:creationId xmlns:a16="http://schemas.microsoft.com/office/drawing/2014/main" id="{27192583-7569-41D4-90FB-285A3E102447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 bwMode="ltGray">
          <a:xfrm>
            <a:off x="1232602" y="2751892"/>
            <a:ext cx="9726795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 algn="ctr">
              <a:defRPr lang="en-US" sz="4400" dirty="0">
                <a:solidFill>
                  <a:srgbClr val="E6D2C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86231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97613"/>
            <a:ext cx="11082528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40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08657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4735" y="2085628"/>
            <a:ext cx="11082528" cy="365015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b="1">
                <a:solidFill>
                  <a:srgbClr val="082F3B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97613"/>
            <a:ext cx="11082528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40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81648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240363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554736" y="2158987"/>
            <a:ext cx="3819264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554736" y="1227048"/>
            <a:ext cx="3819264" cy="664797"/>
          </a:xfrm>
        </p:spPr>
        <p:txBody>
          <a:bodyPr vert="horz" anchor="t">
            <a:noAutofit/>
          </a:bodyPr>
          <a:lstStyle>
            <a:lvl1pPr>
              <a:defRPr sz="24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816486" y="41597"/>
            <a:ext cx="255751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78584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26" Type="http://schemas.openxmlformats.org/officeDocument/2006/relationships/slideLayout" Target="../slideLayouts/slideLayout45.xml"/><Relationship Id="rId39" Type="http://schemas.openxmlformats.org/officeDocument/2006/relationships/slideLayout" Target="../slideLayouts/slideLayout58.xml"/><Relationship Id="rId21" Type="http://schemas.openxmlformats.org/officeDocument/2006/relationships/slideLayout" Target="../slideLayouts/slideLayout40.xml"/><Relationship Id="rId34" Type="http://schemas.openxmlformats.org/officeDocument/2006/relationships/slideLayout" Target="../slideLayouts/slideLayout53.xml"/><Relationship Id="rId42" Type="http://schemas.openxmlformats.org/officeDocument/2006/relationships/slideLayout" Target="../slideLayouts/slideLayout61.xml"/><Relationship Id="rId47" Type="http://schemas.openxmlformats.org/officeDocument/2006/relationships/slideLayout" Target="../slideLayouts/slideLayout66.xml"/><Relationship Id="rId7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30.xml"/><Relationship Id="rId24" Type="http://schemas.openxmlformats.org/officeDocument/2006/relationships/slideLayout" Target="../slideLayouts/slideLayout43.xml"/><Relationship Id="rId32" Type="http://schemas.openxmlformats.org/officeDocument/2006/relationships/slideLayout" Target="../slideLayouts/slideLayout51.xml"/><Relationship Id="rId37" Type="http://schemas.openxmlformats.org/officeDocument/2006/relationships/slideLayout" Target="../slideLayouts/slideLayout56.xml"/><Relationship Id="rId40" Type="http://schemas.openxmlformats.org/officeDocument/2006/relationships/slideLayout" Target="../slideLayouts/slideLayout59.xml"/><Relationship Id="rId45" Type="http://schemas.openxmlformats.org/officeDocument/2006/relationships/slideLayout" Target="../slideLayouts/slideLayout64.x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slideLayout" Target="../slideLayouts/slideLayout42.xml"/><Relationship Id="rId28" Type="http://schemas.openxmlformats.org/officeDocument/2006/relationships/slideLayout" Target="../slideLayouts/slideLayout47.xml"/><Relationship Id="rId36" Type="http://schemas.openxmlformats.org/officeDocument/2006/relationships/slideLayout" Target="../slideLayouts/slideLayout55.xml"/><Relationship Id="rId49" Type="http://schemas.openxmlformats.org/officeDocument/2006/relationships/theme" Target="../theme/theme2.xml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31" Type="http://schemas.openxmlformats.org/officeDocument/2006/relationships/slideLayout" Target="../slideLayouts/slideLayout50.xml"/><Relationship Id="rId44" Type="http://schemas.openxmlformats.org/officeDocument/2006/relationships/slideLayout" Target="../slideLayouts/slideLayout63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slideLayout" Target="../slideLayouts/slideLayout41.xml"/><Relationship Id="rId27" Type="http://schemas.openxmlformats.org/officeDocument/2006/relationships/slideLayout" Target="../slideLayouts/slideLayout46.xml"/><Relationship Id="rId30" Type="http://schemas.openxmlformats.org/officeDocument/2006/relationships/slideLayout" Target="../slideLayouts/slideLayout49.xml"/><Relationship Id="rId35" Type="http://schemas.openxmlformats.org/officeDocument/2006/relationships/slideLayout" Target="../slideLayouts/slideLayout54.xml"/><Relationship Id="rId43" Type="http://schemas.openxmlformats.org/officeDocument/2006/relationships/slideLayout" Target="../slideLayouts/slideLayout62.xml"/><Relationship Id="rId48" Type="http://schemas.openxmlformats.org/officeDocument/2006/relationships/slideLayout" Target="../slideLayouts/slideLayout67.xml"/><Relationship Id="rId8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5" Type="http://schemas.openxmlformats.org/officeDocument/2006/relationships/slideLayout" Target="../slideLayouts/slideLayout44.xml"/><Relationship Id="rId33" Type="http://schemas.openxmlformats.org/officeDocument/2006/relationships/slideLayout" Target="../slideLayouts/slideLayout52.xml"/><Relationship Id="rId38" Type="http://schemas.openxmlformats.org/officeDocument/2006/relationships/slideLayout" Target="../slideLayouts/slideLayout57.xml"/><Relationship Id="rId46" Type="http://schemas.openxmlformats.org/officeDocument/2006/relationships/slideLayout" Target="../slideLayouts/slideLayout65.xml"/><Relationship Id="rId20" Type="http://schemas.openxmlformats.org/officeDocument/2006/relationships/slideLayout" Target="../slideLayouts/slideLayout39.xml"/><Relationship Id="rId41" Type="http://schemas.openxmlformats.org/officeDocument/2006/relationships/slideLayout" Target="../slideLayouts/slideLayout60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84.xml"/><Relationship Id="rId21" Type="http://schemas.openxmlformats.org/officeDocument/2006/relationships/slideLayout" Target="../slideLayouts/slideLayout88.xml"/><Relationship Id="rId42" Type="http://schemas.openxmlformats.org/officeDocument/2006/relationships/slideLayout" Target="../slideLayouts/slideLayout109.xml"/><Relationship Id="rId63" Type="http://schemas.openxmlformats.org/officeDocument/2006/relationships/slideLayout" Target="../slideLayouts/slideLayout130.xml"/><Relationship Id="rId84" Type="http://schemas.openxmlformats.org/officeDocument/2006/relationships/slideLayout" Target="../slideLayouts/slideLayout151.xml"/><Relationship Id="rId138" Type="http://schemas.openxmlformats.org/officeDocument/2006/relationships/slideLayout" Target="../slideLayouts/slideLayout205.xml"/><Relationship Id="rId159" Type="http://schemas.openxmlformats.org/officeDocument/2006/relationships/slideLayout" Target="../slideLayouts/slideLayout226.xml"/><Relationship Id="rId170" Type="http://schemas.openxmlformats.org/officeDocument/2006/relationships/tags" Target="../tags/tag4.xml"/><Relationship Id="rId107" Type="http://schemas.openxmlformats.org/officeDocument/2006/relationships/slideLayout" Target="../slideLayouts/slideLayout174.xml"/><Relationship Id="rId11" Type="http://schemas.openxmlformats.org/officeDocument/2006/relationships/slideLayout" Target="../slideLayouts/slideLayout78.xml"/><Relationship Id="rId32" Type="http://schemas.openxmlformats.org/officeDocument/2006/relationships/slideLayout" Target="../slideLayouts/slideLayout99.xml"/><Relationship Id="rId53" Type="http://schemas.openxmlformats.org/officeDocument/2006/relationships/slideLayout" Target="../slideLayouts/slideLayout120.xml"/><Relationship Id="rId74" Type="http://schemas.openxmlformats.org/officeDocument/2006/relationships/slideLayout" Target="../slideLayouts/slideLayout141.xml"/><Relationship Id="rId128" Type="http://schemas.openxmlformats.org/officeDocument/2006/relationships/slideLayout" Target="../slideLayouts/slideLayout195.xml"/><Relationship Id="rId149" Type="http://schemas.openxmlformats.org/officeDocument/2006/relationships/slideLayout" Target="../slideLayouts/slideLayout216.xml"/><Relationship Id="rId5" Type="http://schemas.openxmlformats.org/officeDocument/2006/relationships/slideLayout" Target="../slideLayouts/slideLayout72.xml"/><Relationship Id="rId95" Type="http://schemas.openxmlformats.org/officeDocument/2006/relationships/slideLayout" Target="../slideLayouts/slideLayout162.xml"/><Relationship Id="rId160" Type="http://schemas.openxmlformats.org/officeDocument/2006/relationships/slideLayout" Target="../slideLayouts/slideLayout227.xml"/><Relationship Id="rId181" Type="http://schemas.openxmlformats.org/officeDocument/2006/relationships/tags" Target="../tags/tag15.xml"/><Relationship Id="rId22" Type="http://schemas.openxmlformats.org/officeDocument/2006/relationships/slideLayout" Target="../slideLayouts/slideLayout89.xml"/><Relationship Id="rId43" Type="http://schemas.openxmlformats.org/officeDocument/2006/relationships/slideLayout" Target="../slideLayouts/slideLayout110.xml"/><Relationship Id="rId64" Type="http://schemas.openxmlformats.org/officeDocument/2006/relationships/slideLayout" Target="../slideLayouts/slideLayout131.xml"/><Relationship Id="rId118" Type="http://schemas.openxmlformats.org/officeDocument/2006/relationships/slideLayout" Target="../slideLayouts/slideLayout185.xml"/><Relationship Id="rId139" Type="http://schemas.openxmlformats.org/officeDocument/2006/relationships/slideLayout" Target="../slideLayouts/slideLayout206.xml"/><Relationship Id="rId85" Type="http://schemas.openxmlformats.org/officeDocument/2006/relationships/slideLayout" Target="../slideLayouts/slideLayout152.xml"/><Relationship Id="rId150" Type="http://schemas.openxmlformats.org/officeDocument/2006/relationships/slideLayout" Target="../slideLayouts/slideLayout217.xml"/><Relationship Id="rId171" Type="http://schemas.openxmlformats.org/officeDocument/2006/relationships/tags" Target="../tags/tag5.xml"/><Relationship Id="rId12" Type="http://schemas.openxmlformats.org/officeDocument/2006/relationships/slideLayout" Target="../slideLayouts/slideLayout79.xml"/><Relationship Id="rId33" Type="http://schemas.openxmlformats.org/officeDocument/2006/relationships/slideLayout" Target="../slideLayouts/slideLayout100.xml"/><Relationship Id="rId108" Type="http://schemas.openxmlformats.org/officeDocument/2006/relationships/slideLayout" Target="../slideLayouts/slideLayout175.xml"/><Relationship Id="rId129" Type="http://schemas.openxmlformats.org/officeDocument/2006/relationships/slideLayout" Target="../slideLayouts/slideLayout196.xml"/><Relationship Id="rId54" Type="http://schemas.openxmlformats.org/officeDocument/2006/relationships/slideLayout" Target="../slideLayouts/slideLayout121.xml"/><Relationship Id="rId75" Type="http://schemas.openxmlformats.org/officeDocument/2006/relationships/slideLayout" Target="../slideLayouts/slideLayout142.xml"/><Relationship Id="rId96" Type="http://schemas.openxmlformats.org/officeDocument/2006/relationships/slideLayout" Target="../slideLayouts/slideLayout163.xml"/><Relationship Id="rId140" Type="http://schemas.openxmlformats.org/officeDocument/2006/relationships/slideLayout" Target="../slideLayouts/slideLayout207.xml"/><Relationship Id="rId161" Type="http://schemas.openxmlformats.org/officeDocument/2006/relationships/slideLayout" Target="../slideLayouts/slideLayout228.xml"/><Relationship Id="rId182" Type="http://schemas.openxmlformats.org/officeDocument/2006/relationships/tags" Target="../tags/tag16.xml"/><Relationship Id="rId6" Type="http://schemas.openxmlformats.org/officeDocument/2006/relationships/slideLayout" Target="../slideLayouts/slideLayout73.xml"/><Relationship Id="rId23" Type="http://schemas.openxmlformats.org/officeDocument/2006/relationships/slideLayout" Target="../slideLayouts/slideLayout90.xml"/><Relationship Id="rId119" Type="http://schemas.openxmlformats.org/officeDocument/2006/relationships/slideLayout" Target="../slideLayouts/slideLayout186.xml"/><Relationship Id="rId44" Type="http://schemas.openxmlformats.org/officeDocument/2006/relationships/slideLayout" Target="../slideLayouts/slideLayout111.xml"/><Relationship Id="rId65" Type="http://schemas.openxmlformats.org/officeDocument/2006/relationships/slideLayout" Target="../slideLayouts/slideLayout132.xml"/><Relationship Id="rId86" Type="http://schemas.openxmlformats.org/officeDocument/2006/relationships/slideLayout" Target="../slideLayouts/slideLayout153.xml"/><Relationship Id="rId130" Type="http://schemas.openxmlformats.org/officeDocument/2006/relationships/slideLayout" Target="../slideLayouts/slideLayout197.xml"/><Relationship Id="rId151" Type="http://schemas.openxmlformats.org/officeDocument/2006/relationships/slideLayout" Target="../slideLayouts/slideLayout218.xml"/><Relationship Id="rId172" Type="http://schemas.openxmlformats.org/officeDocument/2006/relationships/tags" Target="../tags/tag6.xml"/><Relationship Id="rId13" Type="http://schemas.openxmlformats.org/officeDocument/2006/relationships/slideLayout" Target="../slideLayouts/slideLayout80.xml"/><Relationship Id="rId18" Type="http://schemas.openxmlformats.org/officeDocument/2006/relationships/slideLayout" Target="../slideLayouts/slideLayout85.xml"/><Relationship Id="rId39" Type="http://schemas.openxmlformats.org/officeDocument/2006/relationships/slideLayout" Target="../slideLayouts/slideLayout106.xml"/><Relationship Id="rId109" Type="http://schemas.openxmlformats.org/officeDocument/2006/relationships/slideLayout" Target="../slideLayouts/slideLayout176.xml"/><Relationship Id="rId34" Type="http://schemas.openxmlformats.org/officeDocument/2006/relationships/slideLayout" Target="../slideLayouts/slideLayout101.xml"/><Relationship Id="rId50" Type="http://schemas.openxmlformats.org/officeDocument/2006/relationships/slideLayout" Target="../slideLayouts/slideLayout117.xml"/><Relationship Id="rId55" Type="http://schemas.openxmlformats.org/officeDocument/2006/relationships/slideLayout" Target="../slideLayouts/slideLayout122.xml"/><Relationship Id="rId76" Type="http://schemas.openxmlformats.org/officeDocument/2006/relationships/slideLayout" Target="../slideLayouts/slideLayout143.xml"/><Relationship Id="rId97" Type="http://schemas.openxmlformats.org/officeDocument/2006/relationships/slideLayout" Target="../slideLayouts/slideLayout164.xml"/><Relationship Id="rId104" Type="http://schemas.openxmlformats.org/officeDocument/2006/relationships/slideLayout" Target="../slideLayouts/slideLayout171.xml"/><Relationship Id="rId120" Type="http://schemas.openxmlformats.org/officeDocument/2006/relationships/slideLayout" Target="../slideLayouts/slideLayout187.xml"/><Relationship Id="rId125" Type="http://schemas.openxmlformats.org/officeDocument/2006/relationships/slideLayout" Target="../slideLayouts/slideLayout192.xml"/><Relationship Id="rId141" Type="http://schemas.openxmlformats.org/officeDocument/2006/relationships/slideLayout" Target="../slideLayouts/slideLayout208.xml"/><Relationship Id="rId146" Type="http://schemas.openxmlformats.org/officeDocument/2006/relationships/slideLayout" Target="../slideLayouts/slideLayout213.xml"/><Relationship Id="rId167" Type="http://schemas.openxmlformats.org/officeDocument/2006/relationships/tags" Target="../tags/tag1.xml"/><Relationship Id="rId188" Type="http://schemas.openxmlformats.org/officeDocument/2006/relationships/oleObject" Target="../embeddings/oleObject1.bin"/><Relationship Id="rId7" Type="http://schemas.openxmlformats.org/officeDocument/2006/relationships/slideLayout" Target="../slideLayouts/slideLayout74.xml"/><Relationship Id="rId71" Type="http://schemas.openxmlformats.org/officeDocument/2006/relationships/slideLayout" Target="../slideLayouts/slideLayout138.xml"/><Relationship Id="rId92" Type="http://schemas.openxmlformats.org/officeDocument/2006/relationships/slideLayout" Target="../slideLayouts/slideLayout159.xml"/><Relationship Id="rId162" Type="http://schemas.openxmlformats.org/officeDocument/2006/relationships/slideLayout" Target="../slideLayouts/slideLayout229.xml"/><Relationship Id="rId183" Type="http://schemas.openxmlformats.org/officeDocument/2006/relationships/tags" Target="../tags/tag17.xml"/><Relationship Id="rId2" Type="http://schemas.openxmlformats.org/officeDocument/2006/relationships/slideLayout" Target="../slideLayouts/slideLayout69.xml"/><Relationship Id="rId29" Type="http://schemas.openxmlformats.org/officeDocument/2006/relationships/slideLayout" Target="../slideLayouts/slideLayout96.xml"/><Relationship Id="rId24" Type="http://schemas.openxmlformats.org/officeDocument/2006/relationships/slideLayout" Target="../slideLayouts/slideLayout91.xml"/><Relationship Id="rId40" Type="http://schemas.openxmlformats.org/officeDocument/2006/relationships/slideLayout" Target="../slideLayouts/slideLayout107.xml"/><Relationship Id="rId45" Type="http://schemas.openxmlformats.org/officeDocument/2006/relationships/slideLayout" Target="../slideLayouts/slideLayout112.xml"/><Relationship Id="rId66" Type="http://schemas.openxmlformats.org/officeDocument/2006/relationships/slideLayout" Target="../slideLayouts/slideLayout133.xml"/><Relationship Id="rId87" Type="http://schemas.openxmlformats.org/officeDocument/2006/relationships/slideLayout" Target="../slideLayouts/slideLayout154.xml"/><Relationship Id="rId110" Type="http://schemas.openxmlformats.org/officeDocument/2006/relationships/slideLayout" Target="../slideLayouts/slideLayout177.xml"/><Relationship Id="rId115" Type="http://schemas.openxmlformats.org/officeDocument/2006/relationships/slideLayout" Target="../slideLayouts/slideLayout182.xml"/><Relationship Id="rId131" Type="http://schemas.openxmlformats.org/officeDocument/2006/relationships/slideLayout" Target="../slideLayouts/slideLayout198.xml"/><Relationship Id="rId136" Type="http://schemas.openxmlformats.org/officeDocument/2006/relationships/slideLayout" Target="../slideLayouts/slideLayout203.xml"/><Relationship Id="rId157" Type="http://schemas.openxmlformats.org/officeDocument/2006/relationships/slideLayout" Target="../slideLayouts/slideLayout224.xml"/><Relationship Id="rId178" Type="http://schemas.openxmlformats.org/officeDocument/2006/relationships/tags" Target="../tags/tag12.xml"/><Relationship Id="rId61" Type="http://schemas.openxmlformats.org/officeDocument/2006/relationships/slideLayout" Target="../slideLayouts/slideLayout128.xml"/><Relationship Id="rId82" Type="http://schemas.openxmlformats.org/officeDocument/2006/relationships/slideLayout" Target="../slideLayouts/slideLayout149.xml"/><Relationship Id="rId152" Type="http://schemas.openxmlformats.org/officeDocument/2006/relationships/slideLayout" Target="../slideLayouts/slideLayout219.xml"/><Relationship Id="rId173" Type="http://schemas.openxmlformats.org/officeDocument/2006/relationships/tags" Target="../tags/tag7.xml"/><Relationship Id="rId19" Type="http://schemas.openxmlformats.org/officeDocument/2006/relationships/slideLayout" Target="../slideLayouts/slideLayout86.xml"/><Relationship Id="rId14" Type="http://schemas.openxmlformats.org/officeDocument/2006/relationships/slideLayout" Target="../slideLayouts/slideLayout81.xml"/><Relationship Id="rId30" Type="http://schemas.openxmlformats.org/officeDocument/2006/relationships/slideLayout" Target="../slideLayouts/slideLayout97.xml"/><Relationship Id="rId35" Type="http://schemas.openxmlformats.org/officeDocument/2006/relationships/slideLayout" Target="../slideLayouts/slideLayout102.xml"/><Relationship Id="rId56" Type="http://schemas.openxmlformats.org/officeDocument/2006/relationships/slideLayout" Target="../slideLayouts/slideLayout123.xml"/><Relationship Id="rId77" Type="http://schemas.openxmlformats.org/officeDocument/2006/relationships/slideLayout" Target="../slideLayouts/slideLayout144.xml"/><Relationship Id="rId100" Type="http://schemas.openxmlformats.org/officeDocument/2006/relationships/slideLayout" Target="../slideLayouts/slideLayout167.xml"/><Relationship Id="rId105" Type="http://schemas.openxmlformats.org/officeDocument/2006/relationships/slideLayout" Target="../slideLayouts/slideLayout172.xml"/><Relationship Id="rId126" Type="http://schemas.openxmlformats.org/officeDocument/2006/relationships/slideLayout" Target="../slideLayouts/slideLayout193.xml"/><Relationship Id="rId147" Type="http://schemas.openxmlformats.org/officeDocument/2006/relationships/slideLayout" Target="../slideLayouts/slideLayout214.xml"/><Relationship Id="rId168" Type="http://schemas.openxmlformats.org/officeDocument/2006/relationships/tags" Target="../tags/tag2.xml"/><Relationship Id="rId8" Type="http://schemas.openxmlformats.org/officeDocument/2006/relationships/slideLayout" Target="../slideLayouts/slideLayout75.xml"/><Relationship Id="rId51" Type="http://schemas.openxmlformats.org/officeDocument/2006/relationships/slideLayout" Target="../slideLayouts/slideLayout118.xml"/><Relationship Id="rId72" Type="http://schemas.openxmlformats.org/officeDocument/2006/relationships/slideLayout" Target="../slideLayouts/slideLayout139.xml"/><Relationship Id="rId93" Type="http://schemas.openxmlformats.org/officeDocument/2006/relationships/slideLayout" Target="../slideLayouts/slideLayout160.xml"/><Relationship Id="rId98" Type="http://schemas.openxmlformats.org/officeDocument/2006/relationships/slideLayout" Target="../slideLayouts/slideLayout165.xml"/><Relationship Id="rId121" Type="http://schemas.openxmlformats.org/officeDocument/2006/relationships/slideLayout" Target="../slideLayouts/slideLayout188.xml"/><Relationship Id="rId142" Type="http://schemas.openxmlformats.org/officeDocument/2006/relationships/slideLayout" Target="../slideLayouts/slideLayout209.xml"/><Relationship Id="rId163" Type="http://schemas.openxmlformats.org/officeDocument/2006/relationships/slideLayout" Target="../slideLayouts/slideLayout230.xml"/><Relationship Id="rId184" Type="http://schemas.openxmlformats.org/officeDocument/2006/relationships/tags" Target="../tags/tag18.xml"/><Relationship Id="rId189" Type="http://schemas.openxmlformats.org/officeDocument/2006/relationships/image" Target="../media/image21.emf"/><Relationship Id="rId3" Type="http://schemas.openxmlformats.org/officeDocument/2006/relationships/slideLayout" Target="../slideLayouts/slideLayout70.xml"/><Relationship Id="rId25" Type="http://schemas.openxmlformats.org/officeDocument/2006/relationships/slideLayout" Target="../slideLayouts/slideLayout92.xml"/><Relationship Id="rId46" Type="http://schemas.openxmlformats.org/officeDocument/2006/relationships/slideLayout" Target="../slideLayouts/slideLayout113.xml"/><Relationship Id="rId67" Type="http://schemas.openxmlformats.org/officeDocument/2006/relationships/slideLayout" Target="../slideLayouts/slideLayout134.xml"/><Relationship Id="rId116" Type="http://schemas.openxmlformats.org/officeDocument/2006/relationships/slideLayout" Target="../slideLayouts/slideLayout183.xml"/><Relationship Id="rId137" Type="http://schemas.openxmlformats.org/officeDocument/2006/relationships/slideLayout" Target="../slideLayouts/slideLayout204.xml"/><Relationship Id="rId158" Type="http://schemas.openxmlformats.org/officeDocument/2006/relationships/slideLayout" Target="../slideLayouts/slideLayout225.xml"/><Relationship Id="rId20" Type="http://schemas.openxmlformats.org/officeDocument/2006/relationships/slideLayout" Target="../slideLayouts/slideLayout87.xml"/><Relationship Id="rId41" Type="http://schemas.openxmlformats.org/officeDocument/2006/relationships/slideLayout" Target="../slideLayouts/slideLayout108.xml"/><Relationship Id="rId62" Type="http://schemas.openxmlformats.org/officeDocument/2006/relationships/slideLayout" Target="../slideLayouts/slideLayout129.xml"/><Relationship Id="rId83" Type="http://schemas.openxmlformats.org/officeDocument/2006/relationships/slideLayout" Target="../slideLayouts/slideLayout150.xml"/><Relationship Id="rId88" Type="http://schemas.openxmlformats.org/officeDocument/2006/relationships/slideLayout" Target="../slideLayouts/slideLayout155.xml"/><Relationship Id="rId111" Type="http://schemas.openxmlformats.org/officeDocument/2006/relationships/slideLayout" Target="../slideLayouts/slideLayout178.xml"/><Relationship Id="rId132" Type="http://schemas.openxmlformats.org/officeDocument/2006/relationships/slideLayout" Target="../slideLayouts/slideLayout199.xml"/><Relationship Id="rId153" Type="http://schemas.openxmlformats.org/officeDocument/2006/relationships/slideLayout" Target="../slideLayouts/slideLayout220.xml"/><Relationship Id="rId174" Type="http://schemas.openxmlformats.org/officeDocument/2006/relationships/tags" Target="../tags/tag8.xml"/><Relationship Id="rId179" Type="http://schemas.openxmlformats.org/officeDocument/2006/relationships/tags" Target="../tags/tag13.xml"/><Relationship Id="rId15" Type="http://schemas.openxmlformats.org/officeDocument/2006/relationships/slideLayout" Target="../slideLayouts/slideLayout82.xml"/><Relationship Id="rId36" Type="http://schemas.openxmlformats.org/officeDocument/2006/relationships/slideLayout" Target="../slideLayouts/slideLayout103.xml"/><Relationship Id="rId57" Type="http://schemas.openxmlformats.org/officeDocument/2006/relationships/slideLayout" Target="../slideLayouts/slideLayout124.xml"/><Relationship Id="rId106" Type="http://schemas.openxmlformats.org/officeDocument/2006/relationships/slideLayout" Target="../slideLayouts/slideLayout173.xml"/><Relationship Id="rId127" Type="http://schemas.openxmlformats.org/officeDocument/2006/relationships/slideLayout" Target="../slideLayouts/slideLayout194.xml"/><Relationship Id="rId10" Type="http://schemas.openxmlformats.org/officeDocument/2006/relationships/slideLayout" Target="../slideLayouts/slideLayout77.xml"/><Relationship Id="rId31" Type="http://schemas.openxmlformats.org/officeDocument/2006/relationships/slideLayout" Target="../slideLayouts/slideLayout98.xml"/><Relationship Id="rId52" Type="http://schemas.openxmlformats.org/officeDocument/2006/relationships/slideLayout" Target="../slideLayouts/slideLayout119.xml"/><Relationship Id="rId73" Type="http://schemas.openxmlformats.org/officeDocument/2006/relationships/slideLayout" Target="../slideLayouts/slideLayout140.xml"/><Relationship Id="rId78" Type="http://schemas.openxmlformats.org/officeDocument/2006/relationships/slideLayout" Target="../slideLayouts/slideLayout145.xml"/><Relationship Id="rId94" Type="http://schemas.openxmlformats.org/officeDocument/2006/relationships/slideLayout" Target="../slideLayouts/slideLayout161.xml"/><Relationship Id="rId99" Type="http://schemas.openxmlformats.org/officeDocument/2006/relationships/slideLayout" Target="../slideLayouts/slideLayout166.xml"/><Relationship Id="rId101" Type="http://schemas.openxmlformats.org/officeDocument/2006/relationships/slideLayout" Target="../slideLayouts/slideLayout168.xml"/><Relationship Id="rId122" Type="http://schemas.openxmlformats.org/officeDocument/2006/relationships/slideLayout" Target="../slideLayouts/slideLayout189.xml"/><Relationship Id="rId143" Type="http://schemas.openxmlformats.org/officeDocument/2006/relationships/slideLayout" Target="../slideLayouts/slideLayout210.xml"/><Relationship Id="rId148" Type="http://schemas.openxmlformats.org/officeDocument/2006/relationships/slideLayout" Target="../slideLayouts/slideLayout215.xml"/><Relationship Id="rId164" Type="http://schemas.openxmlformats.org/officeDocument/2006/relationships/slideLayout" Target="../slideLayouts/slideLayout231.xml"/><Relationship Id="rId169" Type="http://schemas.openxmlformats.org/officeDocument/2006/relationships/tags" Target="../tags/tag3.xml"/><Relationship Id="rId185" Type="http://schemas.openxmlformats.org/officeDocument/2006/relationships/tags" Target="../tags/tag19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Relationship Id="rId180" Type="http://schemas.openxmlformats.org/officeDocument/2006/relationships/tags" Target="../tags/tag14.xml"/><Relationship Id="rId26" Type="http://schemas.openxmlformats.org/officeDocument/2006/relationships/slideLayout" Target="../slideLayouts/slideLayout93.xml"/><Relationship Id="rId47" Type="http://schemas.openxmlformats.org/officeDocument/2006/relationships/slideLayout" Target="../slideLayouts/slideLayout114.xml"/><Relationship Id="rId68" Type="http://schemas.openxmlformats.org/officeDocument/2006/relationships/slideLayout" Target="../slideLayouts/slideLayout135.xml"/><Relationship Id="rId89" Type="http://schemas.openxmlformats.org/officeDocument/2006/relationships/slideLayout" Target="../slideLayouts/slideLayout156.xml"/><Relationship Id="rId112" Type="http://schemas.openxmlformats.org/officeDocument/2006/relationships/slideLayout" Target="../slideLayouts/slideLayout179.xml"/><Relationship Id="rId133" Type="http://schemas.openxmlformats.org/officeDocument/2006/relationships/slideLayout" Target="../slideLayouts/slideLayout200.xml"/><Relationship Id="rId154" Type="http://schemas.openxmlformats.org/officeDocument/2006/relationships/slideLayout" Target="../slideLayouts/slideLayout221.xml"/><Relationship Id="rId175" Type="http://schemas.openxmlformats.org/officeDocument/2006/relationships/tags" Target="../tags/tag9.xml"/><Relationship Id="rId16" Type="http://schemas.openxmlformats.org/officeDocument/2006/relationships/slideLayout" Target="../slideLayouts/slideLayout83.xml"/><Relationship Id="rId37" Type="http://schemas.openxmlformats.org/officeDocument/2006/relationships/slideLayout" Target="../slideLayouts/slideLayout104.xml"/><Relationship Id="rId58" Type="http://schemas.openxmlformats.org/officeDocument/2006/relationships/slideLayout" Target="../slideLayouts/slideLayout125.xml"/><Relationship Id="rId79" Type="http://schemas.openxmlformats.org/officeDocument/2006/relationships/slideLayout" Target="../slideLayouts/slideLayout146.xml"/><Relationship Id="rId102" Type="http://schemas.openxmlformats.org/officeDocument/2006/relationships/slideLayout" Target="../slideLayouts/slideLayout169.xml"/><Relationship Id="rId123" Type="http://schemas.openxmlformats.org/officeDocument/2006/relationships/slideLayout" Target="../slideLayouts/slideLayout190.xml"/><Relationship Id="rId144" Type="http://schemas.openxmlformats.org/officeDocument/2006/relationships/slideLayout" Target="../slideLayouts/slideLayout211.xml"/><Relationship Id="rId90" Type="http://schemas.openxmlformats.org/officeDocument/2006/relationships/slideLayout" Target="../slideLayouts/slideLayout157.xml"/><Relationship Id="rId165" Type="http://schemas.openxmlformats.org/officeDocument/2006/relationships/slideLayout" Target="../slideLayouts/slideLayout232.xml"/><Relationship Id="rId186" Type="http://schemas.openxmlformats.org/officeDocument/2006/relationships/tags" Target="../tags/tag20.xml"/><Relationship Id="rId27" Type="http://schemas.openxmlformats.org/officeDocument/2006/relationships/slideLayout" Target="../slideLayouts/slideLayout94.xml"/><Relationship Id="rId48" Type="http://schemas.openxmlformats.org/officeDocument/2006/relationships/slideLayout" Target="../slideLayouts/slideLayout115.xml"/><Relationship Id="rId69" Type="http://schemas.openxmlformats.org/officeDocument/2006/relationships/slideLayout" Target="../slideLayouts/slideLayout136.xml"/><Relationship Id="rId113" Type="http://schemas.openxmlformats.org/officeDocument/2006/relationships/slideLayout" Target="../slideLayouts/slideLayout180.xml"/><Relationship Id="rId134" Type="http://schemas.openxmlformats.org/officeDocument/2006/relationships/slideLayout" Target="../slideLayouts/slideLayout201.xml"/><Relationship Id="rId80" Type="http://schemas.openxmlformats.org/officeDocument/2006/relationships/slideLayout" Target="../slideLayouts/slideLayout147.xml"/><Relationship Id="rId155" Type="http://schemas.openxmlformats.org/officeDocument/2006/relationships/slideLayout" Target="../slideLayouts/slideLayout222.xml"/><Relationship Id="rId176" Type="http://schemas.openxmlformats.org/officeDocument/2006/relationships/tags" Target="../tags/tag10.xml"/><Relationship Id="rId17" Type="http://schemas.openxmlformats.org/officeDocument/2006/relationships/slideLayout" Target="../slideLayouts/slideLayout84.xml"/><Relationship Id="rId38" Type="http://schemas.openxmlformats.org/officeDocument/2006/relationships/slideLayout" Target="../slideLayouts/slideLayout105.xml"/><Relationship Id="rId59" Type="http://schemas.openxmlformats.org/officeDocument/2006/relationships/slideLayout" Target="../slideLayouts/slideLayout126.xml"/><Relationship Id="rId103" Type="http://schemas.openxmlformats.org/officeDocument/2006/relationships/slideLayout" Target="../slideLayouts/slideLayout170.xml"/><Relationship Id="rId124" Type="http://schemas.openxmlformats.org/officeDocument/2006/relationships/slideLayout" Target="../slideLayouts/slideLayout191.xml"/><Relationship Id="rId70" Type="http://schemas.openxmlformats.org/officeDocument/2006/relationships/slideLayout" Target="../slideLayouts/slideLayout137.xml"/><Relationship Id="rId91" Type="http://schemas.openxmlformats.org/officeDocument/2006/relationships/slideLayout" Target="../slideLayouts/slideLayout158.xml"/><Relationship Id="rId145" Type="http://schemas.openxmlformats.org/officeDocument/2006/relationships/slideLayout" Target="../slideLayouts/slideLayout212.xml"/><Relationship Id="rId166" Type="http://schemas.openxmlformats.org/officeDocument/2006/relationships/theme" Target="../theme/theme3.xml"/><Relationship Id="rId187" Type="http://schemas.openxmlformats.org/officeDocument/2006/relationships/tags" Target="../tags/tag21.xml"/><Relationship Id="rId1" Type="http://schemas.openxmlformats.org/officeDocument/2006/relationships/slideLayout" Target="../slideLayouts/slideLayout68.xml"/><Relationship Id="rId28" Type="http://schemas.openxmlformats.org/officeDocument/2006/relationships/slideLayout" Target="../slideLayouts/slideLayout95.xml"/><Relationship Id="rId49" Type="http://schemas.openxmlformats.org/officeDocument/2006/relationships/slideLayout" Target="../slideLayouts/slideLayout116.xml"/><Relationship Id="rId114" Type="http://schemas.openxmlformats.org/officeDocument/2006/relationships/slideLayout" Target="../slideLayouts/slideLayout181.xml"/><Relationship Id="rId60" Type="http://schemas.openxmlformats.org/officeDocument/2006/relationships/slideLayout" Target="../slideLayouts/slideLayout127.xml"/><Relationship Id="rId81" Type="http://schemas.openxmlformats.org/officeDocument/2006/relationships/slideLayout" Target="../slideLayouts/slideLayout148.xml"/><Relationship Id="rId135" Type="http://schemas.openxmlformats.org/officeDocument/2006/relationships/slideLayout" Target="../slideLayouts/slideLayout202.xml"/><Relationship Id="rId156" Type="http://schemas.openxmlformats.org/officeDocument/2006/relationships/slideLayout" Target="../slideLayouts/slideLayout223.xml"/><Relationship Id="rId177" Type="http://schemas.openxmlformats.org/officeDocument/2006/relationships/tags" Target="../tags/tag11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5.xml"/><Relationship Id="rId18" Type="http://schemas.openxmlformats.org/officeDocument/2006/relationships/slideLayout" Target="../slideLayouts/slideLayout250.xml"/><Relationship Id="rId26" Type="http://schemas.openxmlformats.org/officeDocument/2006/relationships/slideLayout" Target="../slideLayouts/slideLayout258.xml"/><Relationship Id="rId39" Type="http://schemas.openxmlformats.org/officeDocument/2006/relationships/slideLayout" Target="../slideLayouts/slideLayout271.xml"/><Relationship Id="rId21" Type="http://schemas.openxmlformats.org/officeDocument/2006/relationships/slideLayout" Target="../slideLayouts/slideLayout253.xml"/><Relationship Id="rId34" Type="http://schemas.openxmlformats.org/officeDocument/2006/relationships/slideLayout" Target="../slideLayouts/slideLayout266.xml"/><Relationship Id="rId42" Type="http://schemas.openxmlformats.org/officeDocument/2006/relationships/slideLayout" Target="../slideLayouts/slideLayout274.xml"/><Relationship Id="rId47" Type="http://schemas.openxmlformats.org/officeDocument/2006/relationships/slideLayout" Target="../slideLayouts/slideLayout279.xml"/><Relationship Id="rId7" Type="http://schemas.openxmlformats.org/officeDocument/2006/relationships/slideLayout" Target="../slideLayouts/slideLayout239.xml"/><Relationship Id="rId2" Type="http://schemas.openxmlformats.org/officeDocument/2006/relationships/slideLayout" Target="../slideLayouts/slideLayout234.xml"/><Relationship Id="rId16" Type="http://schemas.openxmlformats.org/officeDocument/2006/relationships/slideLayout" Target="../slideLayouts/slideLayout248.xml"/><Relationship Id="rId29" Type="http://schemas.openxmlformats.org/officeDocument/2006/relationships/slideLayout" Target="../slideLayouts/slideLayout261.xml"/><Relationship Id="rId1" Type="http://schemas.openxmlformats.org/officeDocument/2006/relationships/slideLayout" Target="../slideLayouts/slideLayout233.xml"/><Relationship Id="rId6" Type="http://schemas.openxmlformats.org/officeDocument/2006/relationships/slideLayout" Target="../slideLayouts/slideLayout238.xml"/><Relationship Id="rId11" Type="http://schemas.openxmlformats.org/officeDocument/2006/relationships/slideLayout" Target="../slideLayouts/slideLayout243.xml"/><Relationship Id="rId24" Type="http://schemas.openxmlformats.org/officeDocument/2006/relationships/slideLayout" Target="../slideLayouts/slideLayout256.xml"/><Relationship Id="rId32" Type="http://schemas.openxmlformats.org/officeDocument/2006/relationships/slideLayout" Target="../slideLayouts/slideLayout264.xml"/><Relationship Id="rId37" Type="http://schemas.openxmlformats.org/officeDocument/2006/relationships/slideLayout" Target="../slideLayouts/slideLayout269.xml"/><Relationship Id="rId40" Type="http://schemas.openxmlformats.org/officeDocument/2006/relationships/slideLayout" Target="../slideLayouts/slideLayout272.xml"/><Relationship Id="rId45" Type="http://schemas.openxmlformats.org/officeDocument/2006/relationships/slideLayout" Target="../slideLayouts/slideLayout277.xml"/><Relationship Id="rId5" Type="http://schemas.openxmlformats.org/officeDocument/2006/relationships/slideLayout" Target="../slideLayouts/slideLayout237.xml"/><Relationship Id="rId15" Type="http://schemas.openxmlformats.org/officeDocument/2006/relationships/slideLayout" Target="../slideLayouts/slideLayout247.xml"/><Relationship Id="rId23" Type="http://schemas.openxmlformats.org/officeDocument/2006/relationships/slideLayout" Target="../slideLayouts/slideLayout255.xml"/><Relationship Id="rId28" Type="http://schemas.openxmlformats.org/officeDocument/2006/relationships/slideLayout" Target="../slideLayouts/slideLayout260.xml"/><Relationship Id="rId36" Type="http://schemas.openxmlformats.org/officeDocument/2006/relationships/slideLayout" Target="../slideLayouts/slideLayout268.xml"/><Relationship Id="rId10" Type="http://schemas.openxmlformats.org/officeDocument/2006/relationships/slideLayout" Target="../slideLayouts/slideLayout242.xml"/><Relationship Id="rId19" Type="http://schemas.openxmlformats.org/officeDocument/2006/relationships/slideLayout" Target="../slideLayouts/slideLayout251.xml"/><Relationship Id="rId31" Type="http://schemas.openxmlformats.org/officeDocument/2006/relationships/slideLayout" Target="../slideLayouts/slideLayout263.xml"/><Relationship Id="rId44" Type="http://schemas.openxmlformats.org/officeDocument/2006/relationships/slideLayout" Target="../slideLayouts/slideLayout276.xml"/><Relationship Id="rId4" Type="http://schemas.openxmlformats.org/officeDocument/2006/relationships/slideLayout" Target="../slideLayouts/slideLayout236.xml"/><Relationship Id="rId9" Type="http://schemas.openxmlformats.org/officeDocument/2006/relationships/slideLayout" Target="../slideLayouts/slideLayout241.xml"/><Relationship Id="rId14" Type="http://schemas.openxmlformats.org/officeDocument/2006/relationships/slideLayout" Target="../slideLayouts/slideLayout246.xml"/><Relationship Id="rId22" Type="http://schemas.openxmlformats.org/officeDocument/2006/relationships/slideLayout" Target="../slideLayouts/slideLayout254.xml"/><Relationship Id="rId27" Type="http://schemas.openxmlformats.org/officeDocument/2006/relationships/slideLayout" Target="../slideLayouts/slideLayout259.xml"/><Relationship Id="rId30" Type="http://schemas.openxmlformats.org/officeDocument/2006/relationships/slideLayout" Target="../slideLayouts/slideLayout262.xml"/><Relationship Id="rId35" Type="http://schemas.openxmlformats.org/officeDocument/2006/relationships/slideLayout" Target="../slideLayouts/slideLayout267.xml"/><Relationship Id="rId43" Type="http://schemas.openxmlformats.org/officeDocument/2006/relationships/slideLayout" Target="../slideLayouts/slideLayout275.xml"/><Relationship Id="rId48" Type="http://schemas.openxmlformats.org/officeDocument/2006/relationships/theme" Target="../theme/theme4.xml"/><Relationship Id="rId8" Type="http://schemas.openxmlformats.org/officeDocument/2006/relationships/slideLayout" Target="../slideLayouts/slideLayout240.xml"/><Relationship Id="rId3" Type="http://schemas.openxmlformats.org/officeDocument/2006/relationships/slideLayout" Target="../slideLayouts/slideLayout235.xml"/><Relationship Id="rId12" Type="http://schemas.openxmlformats.org/officeDocument/2006/relationships/slideLayout" Target="../slideLayouts/slideLayout244.xml"/><Relationship Id="rId17" Type="http://schemas.openxmlformats.org/officeDocument/2006/relationships/slideLayout" Target="../slideLayouts/slideLayout249.xml"/><Relationship Id="rId25" Type="http://schemas.openxmlformats.org/officeDocument/2006/relationships/slideLayout" Target="../slideLayouts/slideLayout257.xml"/><Relationship Id="rId33" Type="http://schemas.openxmlformats.org/officeDocument/2006/relationships/slideLayout" Target="../slideLayouts/slideLayout265.xml"/><Relationship Id="rId38" Type="http://schemas.openxmlformats.org/officeDocument/2006/relationships/slideLayout" Target="../slideLayouts/slideLayout270.xml"/><Relationship Id="rId46" Type="http://schemas.openxmlformats.org/officeDocument/2006/relationships/slideLayout" Target="../slideLayouts/slideLayout278.xml"/><Relationship Id="rId20" Type="http://schemas.openxmlformats.org/officeDocument/2006/relationships/slideLayout" Target="../slideLayouts/slideLayout252.xml"/><Relationship Id="rId41" Type="http://schemas.openxmlformats.org/officeDocument/2006/relationships/slideLayout" Target="../slideLayouts/slideLayout273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92.xml"/><Relationship Id="rId18" Type="http://schemas.openxmlformats.org/officeDocument/2006/relationships/slideLayout" Target="../slideLayouts/slideLayout297.xml"/><Relationship Id="rId26" Type="http://schemas.openxmlformats.org/officeDocument/2006/relationships/slideLayout" Target="../slideLayouts/slideLayout305.xml"/><Relationship Id="rId39" Type="http://schemas.openxmlformats.org/officeDocument/2006/relationships/slideLayout" Target="../slideLayouts/slideLayout318.xml"/><Relationship Id="rId21" Type="http://schemas.openxmlformats.org/officeDocument/2006/relationships/slideLayout" Target="../slideLayouts/slideLayout300.xml"/><Relationship Id="rId34" Type="http://schemas.openxmlformats.org/officeDocument/2006/relationships/slideLayout" Target="../slideLayouts/slideLayout313.xml"/><Relationship Id="rId42" Type="http://schemas.openxmlformats.org/officeDocument/2006/relationships/slideLayout" Target="../slideLayouts/slideLayout321.xml"/><Relationship Id="rId47" Type="http://schemas.openxmlformats.org/officeDocument/2006/relationships/slideLayout" Target="../slideLayouts/slideLayout326.xml"/><Relationship Id="rId50" Type="http://schemas.openxmlformats.org/officeDocument/2006/relationships/slideLayout" Target="../slideLayouts/slideLayout329.xml"/><Relationship Id="rId55" Type="http://schemas.openxmlformats.org/officeDocument/2006/relationships/tags" Target="../tags/tag730.xml"/><Relationship Id="rId7" Type="http://schemas.openxmlformats.org/officeDocument/2006/relationships/slideLayout" Target="../slideLayouts/slideLayout286.xml"/><Relationship Id="rId2" Type="http://schemas.openxmlformats.org/officeDocument/2006/relationships/slideLayout" Target="../slideLayouts/slideLayout281.xml"/><Relationship Id="rId16" Type="http://schemas.openxmlformats.org/officeDocument/2006/relationships/slideLayout" Target="../slideLayouts/slideLayout295.xml"/><Relationship Id="rId29" Type="http://schemas.openxmlformats.org/officeDocument/2006/relationships/slideLayout" Target="../slideLayouts/slideLayout308.xml"/><Relationship Id="rId11" Type="http://schemas.openxmlformats.org/officeDocument/2006/relationships/slideLayout" Target="../slideLayouts/slideLayout290.xml"/><Relationship Id="rId24" Type="http://schemas.openxmlformats.org/officeDocument/2006/relationships/slideLayout" Target="../slideLayouts/slideLayout303.xml"/><Relationship Id="rId32" Type="http://schemas.openxmlformats.org/officeDocument/2006/relationships/slideLayout" Target="../slideLayouts/slideLayout311.xml"/><Relationship Id="rId37" Type="http://schemas.openxmlformats.org/officeDocument/2006/relationships/slideLayout" Target="../slideLayouts/slideLayout316.xml"/><Relationship Id="rId40" Type="http://schemas.openxmlformats.org/officeDocument/2006/relationships/slideLayout" Target="../slideLayouts/slideLayout319.xml"/><Relationship Id="rId45" Type="http://schemas.openxmlformats.org/officeDocument/2006/relationships/slideLayout" Target="../slideLayouts/slideLayout324.xml"/><Relationship Id="rId53" Type="http://schemas.openxmlformats.org/officeDocument/2006/relationships/slideLayout" Target="../slideLayouts/slideLayout332.xml"/><Relationship Id="rId5" Type="http://schemas.openxmlformats.org/officeDocument/2006/relationships/slideLayout" Target="../slideLayouts/slideLayout284.xml"/><Relationship Id="rId19" Type="http://schemas.openxmlformats.org/officeDocument/2006/relationships/slideLayout" Target="../slideLayouts/slideLayout298.xml"/><Relationship Id="rId4" Type="http://schemas.openxmlformats.org/officeDocument/2006/relationships/slideLayout" Target="../slideLayouts/slideLayout283.xml"/><Relationship Id="rId9" Type="http://schemas.openxmlformats.org/officeDocument/2006/relationships/slideLayout" Target="../slideLayouts/slideLayout288.xml"/><Relationship Id="rId14" Type="http://schemas.openxmlformats.org/officeDocument/2006/relationships/slideLayout" Target="../slideLayouts/slideLayout293.xml"/><Relationship Id="rId22" Type="http://schemas.openxmlformats.org/officeDocument/2006/relationships/slideLayout" Target="../slideLayouts/slideLayout301.xml"/><Relationship Id="rId27" Type="http://schemas.openxmlformats.org/officeDocument/2006/relationships/slideLayout" Target="../slideLayouts/slideLayout306.xml"/><Relationship Id="rId30" Type="http://schemas.openxmlformats.org/officeDocument/2006/relationships/slideLayout" Target="../slideLayouts/slideLayout309.xml"/><Relationship Id="rId35" Type="http://schemas.openxmlformats.org/officeDocument/2006/relationships/slideLayout" Target="../slideLayouts/slideLayout314.xml"/><Relationship Id="rId43" Type="http://schemas.openxmlformats.org/officeDocument/2006/relationships/slideLayout" Target="../slideLayouts/slideLayout322.xml"/><Relationship Id="rId48" Type="http://schemas.openxmlformats.org/officeDocument/2006/relationships/slideLayout" Target="../slideLayouts/slideLayout327.xml"/><Relationship Id="rId56" Type="http://schemas.openxmlformats.org/officeDocument/2006/relationships/oleObject" Target="../embeddings/oleObject167.bin"/><Relationship Id="rId8" Type="http://schemas.openxmlformats.org/officeDocument/2006/relationships/slideLayout" Target="../slideLayouts/slideLayout287.xml"/><Relationship Id="rId51" Type="http://schemas.openxmlformats.org/officeDocument/2006/relationships/slideLayout" Target="../slideLayouts/slideLayout330.xml"/><Relationship Id="rId3" Type="http://schemas.openxmlformats.org/officeDocument/2006/relationships/slideLayout" Target="../slideLayouts/slideLayout282.xml"/><Relationship Id="rId12" Type="http://schemas.openxmlformats.org/officeDocument/2006/relationships/slideLayout" Target="../slideLayouts/slideLayout291.xml"/><Relationship Id="rId17" Type="http://schemas.openxmlformats.org/officeDocument/2006/relationships/slideLayout" Target="../slideLayouts/slideLayout296.xml"/><Relationship Id="rId25" Type="http://schemas.openxmlformats.org/officeDocument/2006/relationships/slideLayout" Target="../slideLayouts/slideLayout304.xml"/><Relationship Id="rId33" Type="http://schemas.openxmlformats.org/officeDocument/2006/relationships/slideLayout" Target="../slideLayouts/slideLayout312.xml"/><Relationship Id="rId38" Type="http://schemas.openxmlformats.org/officeDocument/2006/relationships/slideLayout" Target="../slideLayouts/slideLayout317.xml"/><Relationship Id="rId46" Type="http://schemas.openxmlformats.org/officeDocument/2006/relationships/slideLayout" Target="../slideLayouts/slideLayout325.xml"/><Relationship Id="rId20" Type="http://schemas.openxmlformats.org/officeDocument/2006/relationships/slideLayout" Target="../slideLayouts/slideLayout299.xml"/><Relationship Id="rId41" Type="http://schemas.openxmlformats.org/officeDocument/2006/relationships/slideLayout" Target="../slideLayouts/slideLayout320.xml"/><Relationship Id="rId54" Type="http://schemas.openxmlformats.org/officeDocument/2006/relationships/theme" Target="../theme/theme5.xml"/><Relationship Id="rId1" Type="http://schemas.openxmlformats.org/officeDocument/2006/relationships/slideLayout" Target="../slideLayouts/slideLayout280.xml"/><Relationship Id="rId6" Type="http://schemas.openxmlformats.org/officeDocument/2006/relationships/slideLayout" Target="../slideLayouts/slideLayout285.xml"/><Relationship Id="rId15" Type="http://schemas.openxmlformats.org/officeDocument/2006/relationships/slideLayout" Target="../slideLayouts/slideLayout294.xml"/><Relationship Id="rId23" Type="http://schemas.openxmlformats.org/officeDocument/2006/relationships/slideLayout" Target="../slideLayouts/slideLayout302.xml"/><Relationship Id="rId28" Type="http://schemas.openxmlformats.org/officeDocument/2006/relationships/slideLayout" Target="../slideLayouts/slideLayout307.xml"/><Relationship Id="rId36" Type="http://schemas.openxmlformats.org/officeDocument/2006/relationships/slideLayout" Target="../slideLayouts/slideLayout315.xml"/><Relationship Id="rId49" Type="http://schemas.openxmlformats.org/officeDocument/2006/relationships/slideLayout" Target="../slideLayouts/slideLayout328.xml"/><Relationship Id="rId57" Type="http://schemas.openxmlformats.org/officeDocument/2006/relationships/image" Target="../media/image37.emf"/><Relationship Id="rId10" Type="http://schemas.openxmlformats.org/officeDocument/2006/relationships/slideLayout" Target="../slideLayouts/slideLayout289.xml"/><Relationship Id="rId31" Type="http://schemas.openxmlformats.org/officeDocument/2006/relationships/slideLayout" Target="../slideLayouts/slideLayout310.xml"/><Relationship Id="rId44" Type="http://schemas.openxmlformats.org/officeDocument/2006/relationships/slideLayout" Target="../slideLayouts/slideLayout323.xml"/><Relationship Id="rId52" Type="http://schemas.openxmlformats.org/officeDocument/2006/relationships/slideLayout" Target="../slideLayouts/slideLayout3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4C9939A-617C-3E44-A0D0-909C79756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72267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8" y="1325974"/>
            <a:ext cx="11154344" cy="445660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F729D7-DBF0-1846-87E5-720E70F9E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7567" y="6356350"/>
            <a:ext cx="4189003" cy="136526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Gavi Presentation Templat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918EB43-CEEF-AF40-88AE-32CEA15C64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51"/>
            <a:ext cx="261629" cy="13334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B746B08-255A-2748-8A21-40BE94A17FD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65024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12" r:id="rId4"/>
    <p:sldLayoutId id="2147483735" r:id="rId5"/>
    <p:sldLayoutId id="2147483700" r:id="rId6"/>
    <p:sldLayoutId id="2147483698" r:id="rId7"/>
    <p:sldLayoutId id="2147483701" r:id="rId8"/>
    <p:sldLayoutId id="2147483736" r:id="rId9"/>
    <p:sldLayoutId id="2147483737" r:id="rId10"/>
    <p:sldLayoutId id="2147483738" r:id="rId11"/>
    <p:sldLayoutId id="2147483709" r:id="rId12"/>
    <p:sldLayoutId id="2147483710" r:id="rId13"/>
    <p:sldLayoutId id="2147483711" r:id="rId14"/>
    <p:sldLayoutId id="2147483739" r:id="rId15"/>
    <p:sldLayoutId id="2147483740" r:id="rId16"/>
    <p:sldLayoutId id="2147483741" r:id="rId17"/>
    <p:sldLayoutId id="2147483714" r:id="rId18"/>
    <p:sldLayoutId id="2147483713" r:id="rId1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25" userDrawn="1">
          <p15:clr>
            <a:srgbClr val="F26B43"/>
          </p15:clr>
        </p15:guide>
        <p15:guide id="3" pos="7355" userDrawn="1">
          <p15:clr>
            <a:srgbClr val="F26B43"/>
          </p15:clr>
        </p15:guide>
        <p15:guide id="4" orient="horz" pos="232" userDrawn="1">
          <p15:clr>
            <a:srgbClr val="F26B43"/>
          </p15:clr>
        </p15:guide>
        <p15:guide id="5" orient="horz" pos="4088" userDrawn="1">
          <p15:clr>
            <a:srgbClr val="F26B43"/>
          </p15:clr>
        </p15:guide>
        <p15:guide id="7" orient="horz" pos="822" userDrawn="1">
          <p15:clr>
            <a:srgbClr val="F26B43"/>
          </p15:clr>
        </p15:guide>
        <p15:guide id="9" orient="horz" pos="372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4C9939A-617C-3E44-A0D0-909C79756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72267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8" y="1325974"/>
            <a:ext cx="11154344" cy="445660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F729D7-DBF0-1846-87E5-720E70F9E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7567" y="6356350"/>
            <a:ext cx="4189003" cy="136526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Gavi Presentation Templat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918EB43-CEEF-AF40-88AE-32CEA15C64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51"/>
            <a:ext cx="261629" cy="13334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B746B08-255A-2748-8A21-40BE94A17FD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60511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7" r:id="rId1"/>
    <p:sldLayoutId id="2147483988" r:id="rId2"/>
    <p:sldLayoutId id="2147483989" r:id="rId3"/>
    <p:sldLayoutId id="2147483990" r:id="rId4"/>
    <p:sldLayoutId id="2147483991" r:id="rId5"/>
    <p:sldLayoutId id="2147483992" r:id="rId6"/>
    <p:sldLayoutId id="2147483993" r:id="rId7"/>
    <p:sldLayoutId id="2147483994" r:id="rId8"/>
    <p:sldLayoutId id="2147483995" r:id="rId9"/>
    <p:sldLayoutId id="2147483996" r:id="rId10"/>
    <p:sldLayoutId id="2147483997" r:id="rId11"/>
    <p:sldLayoutId id="2147483998" r:id="rId12"/>
    <p:sldLayoutId id="2147483999" r:id="rId13"/>
    <p:sldLayoutId id="2147484000" r:id="rId14"/>
    <p:sldLayoutId id="2147484001" r:id="rId15"/>
    <p:sldLayoutId id="2147484002" r:id="rId16"/>
    <p:sldLayoutId id="2147484003" r:id="rId17"/>
    <p:sldLayoutId id="2147484004" r:id="rId18"/>
    <p:sldLayoutId id="2147484005" r:id="rId19"/>
    <p:sldLayoutId id="2147484006" r:id="rId20"/>
    <p:sldLayoutId id="2147484007" r:id="rId21"/>
    <p:sldLayoutId id="2147484008" r:id="rId22"/>
    <p:sldLayoutId id="2147484009" r:id="rId23"/>
    <p:sldLayoutId id="2147484010" r:id="rId24"/>
    <p:sldLayoutId id="2147484011" r:id="rId25"/>
    <p:sldLayoutId id="2147484012" r:id="rId26"/>
    <p:sldLayoutId id="2147484013" r:id="rId27"/>
    <p:sldLayoutId id="2147484014" r:id="rId28"/>
    <p:sldLayoutId id="2147484015" r:id="rId29"/>
    <p:sldLayoutId id="2147484016" r:id="rId30"/>
    <p:sldLayoutId id="2147484017" r:id="rId31"/>
    <p:sldLayoutId id="2147484018" r:id="rId32"/>
    <p:sldLayoutId id="2147484019" r:id="rId33"/>
    <p:sldLayoutId id="2147484020" r:id="rId34"/>
    <p:sldLayoutId id="2147484021" r:id="rId35"/>
    <p:sldLayoutId id="2147484022" r:id="rId36"/>
    <p:sldLayoutId id="2147484023" r:id="rId37"/>
    <p:sldLayoutId id="2147484024" r:id="rId38"/>
    <p:sldLayoutId id="2147484025" r:id="rId39"/>
    <p:sldLayoutId id="2147484026" r:id="rId40"/>
    <p:sldLayoutId id="2147484027" r:id="rId41"/>
    <p:sldLayoutId id="2147484028" r:id="rId42"/>
    <p:sldLayoutId id="2147484029" r:id="rId43"/>
    <p:sldLayoutId id="2147484030" r:id="rId44"/>
    <p:sldLayoutId id="2147484031" r:id="rId45"/>
    <p:sldLayoutId id="2147484032" r:id="rId46"/>
    <p:sldLayoutId id="2147484160" r:id="rId47"/>
    <p:sldLayoutId id="2147484161" r:id="rId4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25" userDrawn="1">
          <p15:clr>
            <a:srgbClr val="F26B43"/>
          </p15:clr>
        </p15:guide>
        <p15:guide id="3" pos="7355" userDrawn="1">
          <p15:clr>
            <a:srgbClr val="F26B43"/>
          </p15:clr>
        </p15:guide>
        <p15:guide id="4" orient="horz" pos="232" userDrawn="1">
          <p15:clr>
            <a:srgbClr val="F26B43"/>
          </p15:clr>
        </p15:guide>
        <p15:guide id="5" orient="horz" pos="4088" userDrawn="1">
          <p15:clr>
            <a:srgbClr val="F26B43"/>
          </p15:clr>
        </p15:guide>
        <p15:guide id="7" orient="horz" pos="822" userDrawn="1">
          <p15:clr>
            <a:srgbClr val="F26B43"/>
          </p15:clr>
        </p15:guide>
        <p15:guide id="9" orient="horz" pos="3725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7"/>
            </p:custDataLst>
            <p:extLst>
              <p:ext uri="{D42A27DB-BD31-4B8C-83A1-F6EECF244321}">
                <p14:modId xmlns:p14="http://schemas.microsoft.com/office/powerpoint/2010/main" val="23169196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8" imgW="413" imgH="416" progId="TCLayout.ActiveDocument.1">
                  <p:embed/>
                </p:oleObj>
              </mc:Choice>
              <mc:Fallback>
                <p:oleObj name="think-cell Slide" r:id="rId18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6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69"/>
            </p:custDataLst>
          </p:nvPr>
        </p:nvSpPr>
        <p:spPr>
          <a:xfrm>
            <a:off x="553972" y="6278400"/>
            <a:ext cx="9144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70"/>
            </p:custDataLst>
          </p:nvPr>
        </p:nvSpPr>
        <p:spPr>
          <a:xfrm>
            <a:off x="554736" y="197613"/>
            <a:ext cx="11082528" cy="3847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393235"/>
              <a:ext cx="11082528" cy="4824685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186537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39903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026807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171"/>
            </p:custDataLst>
          </p:nvPr>
        </p:nvSpPr>
        <p:spPr>
          <a:xfrm>
            <a:off x="5987738" y="1872797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Above Chart Exhibit Title</a:t>
            </a:r>
          </a:p>
          <a:p>
            <a:pPr lvl="0"/>
            <a:r>
              <a:rPr lang="en-US" b="0">
                <a:latin typeface="+mn-lt"/>
                <a:ea typeface="+mn-ea"/>
                <a:cs typeface="+mn-cs"/>
              </a:rPr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5" y="1872797"/>
            <a:ext cx="11082528" cy="163121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002554E5-F124-4BE6-A938-5466B27EEA82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CEE6DB68-2DAA-4E75-A4FB-B516116DB3CA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97754DDF-C63C-4248-AC3D-45C182524B57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89886DF4-DD3E-43D5-9864-2A2BC0616D1C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5B110060-5E69-4634-973F-ED6AF02A8B0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A5842F53-F9C3-4E5A-9778-7B4054EBD6F0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72EA63FA-FE11-4A99-A68C-855D137252E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>
                <a:latin typeface="+mn-lt"/>
                <a:ea typeface="+mn-ea"/>
                <a:cs typeface="+mn-cs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F95EF70E-BD62-4CF1-994F-3618D22DBDD8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D795E26E-87CE-4D50-B9D8-767FFAEC9672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908F05FD-ED3E-4BF0-8391-02CD4F900501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39906D3E-93D3-4FD5-AB5F-0C22E3781CAB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35D69CAE-F33C-476C-B254-909EA95E89F9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E09D790D-7056-424F-A8DA-5C868D0B35EE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259D1037-7873-4435-BBB9-6E249A6F2976}"/>
                </a:ext>
              </a:extLst>
            </p:cNvPr>
            <p:cNvGrpSpPr>
              <a:grpSpLocks noChangeAspect="1"/>
            </p:cNvGrpSpPr>
            <p:nvPr>
              <p:custDataLst>
                <p:tags r:id="rId173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6ED72A14-997E-43A1-8277-64E43B8C35F3}"/>
                  </a:ext>
                </a:extLst>
              </p:cNvPr>
              <p:cNvSpPr/>
              <p:nvPr>
                <p:custDataLst>
                  <p:tags r:id="rId18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err="1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F9B15371-13C6-4FC5-A65B-0EDE237980EC}"/>
                  </a:ext>
                </a:extLst>
              </p:cNvPr>
              <p:cNvSpPr/>
              <p:nvPr>
                <p:custDataLst>
                  <p:tags r:id="rId18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5B25FABC-A1CB-4179-93E5-2B0E2705BFF1}"/>
                </a:ext>
              </a:extLst>
            </p:cNvPr>
            <p:cNvGrpSpPr>
              <a:grpSpLocks noChangeAspect="1"/>
            </p:cNvGrpSpPr>
            <p:nvPr>
              <p:custDataLst>
                <p:tags r:id="rId174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DE5B7F2A-8FB0-41B4-8C1B-EA8A313794A0}"/>
                  </a:ext>
                </a:extLst>
              </p:cNvPr>
              <p:cNvSpPr/>
              <p:nvPr>
                <p:custDataLst>
                  <p:tags r:id="rId18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err="1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D743921E-6D1E-4571-B683-6DAA333BDEC0}"/>
                  </a:ext>
                </a:extLst>
              </p:cNvPr>
              <p:cNvSpPr/>
              <p:nvPr>
                <p:custDataLst>
                  <p:tags r:id="rId18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EFE8AD28-8704-4A66-90FB-0D38F38CA97A}"/>
                </a:ext>
              </a:extLst>
            </p:cNvPr>
            <p:cNvGrpSpPr>
              <a:grpSpLocks noChangeAspect="1"/>
            </p:cNvGrpSpPr>
            <p:nvPr>
              <p:custDataLst>
                <p:tags r:id="rId175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9FF5ED0A-DB5E-486D-948E-C524BDCBA3FF}"/>
                  </a:ext>
                </a:extLst>
              </p:cNvPr>
              <p:cNvSpPr/>
              <p:nvPr>
                <p:custDataLst>
                  <p:tags r:id="rId18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err="1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03D44525-7618-42C3-A26B-9CC5DF2D2566}"/>
                  </a:ext>
                </a:extLst>
              </p:cNvPr>
              <p:cNvSpPr/>
              <p:nvPr>
                <p:custDataLst>
                  <p:tags r:id="rId18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A5A294A2-58B5-4E0F-A069-8841C3D7E9E3}"/>
                </a:ext>
              </a:extLst>
            </p:cNvPr>
            <p:cNvGrpSpPr>
              <a:grpSpLocks noChangeAspect="1"/>
            </p:cNvGrpSpPr>
            <p:nvPr>
              <p:custDataLst>
                <p:tags r:id="rId176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132E0E44-FAA6-4DC8-BBFA-E67911DFBAD7}"/>
                  </a:ext>
                </a:extLst>
              </p:cNvPr>
              <p:cNvSpPr/>
              <p:nvPr>
                <p:custDataLst>
                  <p:tags r:id="rId18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err="1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4EE447D4-D1F3-48FC-A5DF-CC5107A778A6}"/>
                  </a:ext>
                </a:extLst>
              </p:cNvPr>
              <p:cNvSpPr/>
              <p:nvPr>
                <p:custDataLst>
                  <p:tags r:id="rId18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8DC9BA04-93EE-4E6C-A59A-D77D8E3E66EF}"/>
                </a:ext>
              </a:extLst>
            </p:cNvPr>
            <p:cNvGrpSpPr>
              <a:grpSpLocks noChangeAspect="1"/>
            </p:cNvGrpSpPr>
            <p:nvPr>
              <p:custDataLst>
                <p:tags r:id="rId177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EE99225C-33E4-450B-9E02-9EAE60978205}"/>
                  </a:ext>
                </a:extLst>
              </p:cNvPr>
              <p:cNvSpPr/>
              <p:nvPr>
                <p:custDataLst>
                  <p:tags r:id="rId17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err="1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044D8867-620D-4691-A0DD-79E16FC985B3}"/>
                  </a:ext>
                </a:extLst>
              </p:cNvPr>
              <p:cNvSpPr/>
              <p:nvPr>
                <p:custDataLst>
                  <p:tags r:id="rId17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>
                  <a:latin typeface="+mn-lt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A0E654AE-5F79-4BF0-8FB5-7F13C251CAAD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9DA215AB-9F91-423A-93B2-0C935900AD9C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E73033B1-9970-4145-B36A-4ADB5EA17FD3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CBF00C76-B394-4C0D-B57E-83F32D114FAC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530948E3-0246-4F0C-B58A-498D999088C1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CD801A43-CDAA-4DE6-95F8-A05BCF4CDA7C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1A78357B-86E2-4C37-8D1D-92F48BB78A96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85737C2C-6F82-42F9-8CBB-E747145B866E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2A03EBFC-AC29-4924-8142-8B62E83E58D0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F950371F-39A1-4467-977F-0ED0F9F75DF4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E95AA835-DC23-4AEB-914C-A6D459337EA1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</p:grpSp>
      <p:sp>
        <p:nvSpPr>
          <p:cNvPr id="8" name="TextBox 7"/>
          <p:cNvSpPr txBox="1"/>
          <p:nvPr userDrawn="1"/>
        </p:nvSpPr>
        <p:spPr>
          <a:xfrm>
            <a:off x="554736" y="41597"/>
            <a:ext cx="13497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lassified as Internal</a:t>
            </a:r>
          </a:p>
        </p:txBody>
      </p:sp>
      <p:sp>
        <p:nvSpPr>
          <p:cNvPr id="151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172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25736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3824" r:id="rId3"/>
    <p:sldLayoutId id="2147483825" r:id="rId4"/>
    <p:sldLayoutId id="2147483826" r:id="rId5"/>
    <p:sldLayoutId id="2147483827" r:id="rId6"/>
    <p:sldLayoutId id="2147483828" r:id="rId7"/>
    <p:sldLayoutId id="2147483829" r:id="rId8"/>
    <p:sldLayoutId id="2147483830" r:id="rId9"/>
    <p:sldLayoutId id="2147483831" r:id="rId10"/>
    <p:sldLayoutId id="2147483832" r:id="rId11"/>
    <p:sldLayoutId id="2147483833" r:id="rId12"/>
    <p:sldLayoutId id="2147483834" r:id="rId13"/>
    <p:sldLayoutId id="2147483835" r:id="rId14"/>
    <p:sldLayoutId id="2147483836" r:id="rId15"/>
    <p:sldLayoutId id="2147483837" r:id="rId16"/>
    <p:sldLayoutId id="2147483838" r:id="rId17"/>
    <p:sldLayoutId id="2147483839" r:id="rId18"/>
    <p:sldLayoutId id="2147483840" r:id="rId19"/>
    <p:sldLayoutId id="2147483841" r:id="rId20"/>
    <p:sldLayoutId id="2147483842" r:id="rId21"/>
    <p:sldLayoutId id="2147483843" r:id="rId22"/>
    <p:sldLayoutId id="2147483844" r:id="rId23"/>
    <p:sldLayoutId id="2147483845" r:id="rId24"/>
    <p:sldLayoutId id="2147483846" r:id="rId25"/>
    <p:sldLayoutId id="2147483847" r:id="rId26"/>
    <p:sldLayoutId id="2147483848" r:id="rId27"/>
    <p:sldLayoutId id="2147483849" r:id="rId28"/>
    <p:sldLayoutId id="2147483850" r:id="rId29"/>
    <p:sldLayoutId id="2147483851" r:id="rId30"/>
    <p:sldLayoutId id="2147483852" r:id="rId31"/>
    <p:sldLayoutId id="2147483853" r:id="rId32"/>
    <p:sldLayoutId id="2147483854" r:id="rId33"/>
    <p:sldLayoutId id="2147483855" r:id="rId34"/>
    <p:sldLayoutId id="2147483856" r:id="rId35"/>
    <p:sldLayoutId id="2147483857" r:id="rId36"/>
    <p:sldLayoutId id="2147483858" r:id="rId37"/>
    <p:sldLayoutId id="2147483859" r:id="rId38"/>
    <p:sldLayoutId id="2147483860" r:id="rId39"/>
    <p:sldLayoutId id="2147483861" r:id="rId40"/>
    <p:sldLayoutId id="2147483862" r:id="rId41"/>
    <p:sldLayoutId id="2147483863" r:id="rId42"/>
    <p:sldLayoutId id="2147483864" r:id="rId43"/>
    <p:sldLayoutId id="2147483865" r:id="rId44"/>
    <p:sldLayoutId id="2147483866" r:id="rId45"/>
    <p:sldLayoutId id="2147483867" r:id="rId46"/>
    <p:sldLayoutId id="2147483868" r:id="rId47"/>
    <p:sldLayoutId id="2147483869" r:id="rId48"/>
    <p:sldLayoutId id="2147483870" r:id="rId49"/>
    <p:sldLayoutId id="2147483871" r:id="rId50"/>
    <p:sldLayoutId id="2147483872" r:id="rId51"/>
    <p:sldLayoutId id="2147483873" r:id="rId52"/>
    <p:sldLayoutId id="2147483874" r:id="rId53"/>
    <p:sldLayoutId id="2147483875" r:id="rId54"/>
    <p:sldLayoutId id="2147483876" r:id="rId55"/>
    <p:sldLayoutId id="2147483877" r:id="rId56"/>
    <p:sldLayoutId id="2147483878" r:id="rId57"/>
    <p:sldLayoutId id="2147483879" r:id="rId58"/>
    <p:sldLayoutId id="2147483880" r:id="rId59"/>
    <p:sldLayoutId id="2147483881" r:id="rId60"/>
    <p:sldLayoutId id="2147483882" r:id="rId61"/>
    <p:sldLayoutId id="2147483883" r:id="rId62"/>
    <p:sldLayoutId id="2147483884" r:id="rId63"/>
    <p:sldLayoutId id="2147483885" r:id="rId64"/>
    <p:sldLayoutId id="2147483886" r:id="rId65"/>
    <p:sldLayoutId id="2147483887" r:id="rId66"/>
    <p:sldLayoutId id="2147483888" r:id="rId67"/>
    <p:sldLayoutId id="2147483889" r:id="rId68"/>
    <p:sldLayoutId id="2147483890" r:id="rId69"/>
    <p:sldLayoutId id="2147483891" r:id="rId70"/>
    <p:sldLayoutId id="2147483892" r:id="rId71"/>
    <p:sldLayoutId id="2147483893" r:id="rId72"/>
    <p:sldLayoutId id="2147483894" r:id="rId73"/>
    <p:sldLayoutId id="2147483895" r:id="rId74"/>
    <p:sldLayoutId id="2147483896" r:id="rId75"/>
    <p:sldLayoutId id="2147483897" r:id="rId76"/>
    <p:sldLayoutId id="2147483898" r:id="rId77"/>
    <p:sldLayoutId id="2147483899" r:id="rId78"/>
    <p:sldLayoutId id="2147483900" r:id="rId79"/>
    <p:sldLayoutId id="2147483901" r:id="rId80"/>
    <p:sldLayoutId id="2147483902" r:id="rId81"/>
    <p:sldLayoutId id="2147483903" r:id="rId82"/>
    <p:sldLayoutId id="2147483904" r:id="rId83"/>
    <p:sldLayoutId id="2147483905" r:id="rId84"/>
    <p:sldLayoutId id="2147483906" r:id="rId85"/>
    <p:sldLayoutId id="2147483907" r:id="rId86"/>
    <p:sldLayoutId id="2147483908" r:id="rId87"/>
    <p:sldLayoutId id="2147483909" r:id="rId88"/>
    <p:sldLayoutId id="2147483910" r:id="rId89"/>
    <p:sldLayoutId id="2147483911" r:id="rId90"/>
    <p:sldLayoutId id="2147483912" r:id="rId91"/>
    <p:sldLayoutId id="2147483913" r:id="rId92"/>
    <p:sldLayoutId id="2147483914" r:id="rId93"/>
    <p:sldLayoutId id="2147483915" r:id="rId94"/>
    <p:sldLayoutId id="2147483916" r:id="rId95"/>
    <p:sldLayoutId id="2147483917" r:id="rId96"/>
    <p:sldLayoutId id="2147483918" r:id="rId97"/>
    <p:sldLayoutId id="2147483919" r:id="rId98"/>
    <p:sldLayoutId id="2147483920" r:id="rId99"/>
    <p:sldLayoutId id="2147483921" r:id="rId100"/>
    <p:sldLayoutId id="2147483922" r:id="rId101"/>
    <p:sldLayoutId id="2147483923" r:id="rId102"/>
    <p:sldLayoutId id="2147483924" r:id="rId103"/>
    <p:sldLayoutId id="2147483925" r:id="rId104"/>
    <p:sldLayoutId id="2147483926" r:id="rId105"/>
    <p:sldLayoutId id="2147483927" r:id="rId106"/>
    <p:sldLayoutId id="2147483928" r:id="rId107"/>
    <p:sldLayoutId id="2147483929" r:id="rId108"/>
    <p:sldLayoutId id="2147483930" r:id="rId109"/>
    <p:sldLayoutId id="2147483931" r:id="rId110"/>
    <p:sldLayoutId id="2147483932" r:id="rId111"/>
    <p:sldLayoutId id="2147483933" r:id="rId112"/>
    <p:sldLayoutId id="2147483934" r:id="rId113"/>
    <p:sldLayoutId id="2147483935" r:id="rId114"/>
    <p:sldLayoutId id="2147483936" r:id="rId115"/>
    <p:sldLayoutId id="2147483937" r:id="rId116"/>
    <p:sldLayoutId id="2147483938" r:id="rId117"/>
    <p:sldLayoutId id="2147483939" r:id="rId118"/>
    <p:sldLayoutId id="2147483940" r:id="rId119"/>
    <p:sldLayoutId id="2147483941" r:id="rId120"/>
    <p:sldLayoutId id="2147483942" r:id="rId121"/>
    <p:sldLayoutId id="2147483943" r:id="rId122"/>
    <p:sldLayoutId id="2147483944" r:id="rId123"/>
    <p:sldLayoutId id="2147483945" r:id="rId124"/>
    <p:sldLayoutId id="2147483946" r:id="rId125"/>
    <p:sldLayoutId id="2147483947" r:id="rId126"/>
    <p:sldLayoutId id="2147483948" r:id="rId127"/>
    <p:sldLayoutId id="2147483949" r:id="rId128"/>
    <p:sldLayoutId id="2147483950" r:id="rId129"/>
    <p:sldLayoutId id="2147483951" r:id="rId130"/>
    <p:sldLayoutId id="2147483952" r:id="rId131"/>
    <p:sldLayoutId id="2147483953" r:id="rId132"/>
    <p:sldLayoutId id="2147483954" r:id="rId133"/>
    <p:sldLayoutId id="2147483955" r:id="rId134"/>
    <p:sldLayoutId id="2147483956" r:id="rId135"/>
    <p:sldLayoutId id="2147483957" r:id="rId136"/>
    <p:sldLayoutId id="2147483958" r:id="rId137"/>
    <p:sldLayoutId id="2147483959" r:id="rId138"/>
    <p:sldLayoutId id="2147483960" r:id="rId139"/>
    <p:sldLayoutId id="2147483961" r:id="rId140"/>
    <p:sldLayoutId id="2147483962" r:id="rId141"/>
    <p:sldLayoutId id="2147483963" r:id="rId142"/>
    <p:sldLayoutId id="2147483964" r:id="rId143"/>
    <p:sldLayoutId id="2147483965" r:id="rId144"/>
    <p:sldLayoutId id="2147483966" r:id="rId145"/>
    <p:sldLayoutId id="2147483967" r:id="rId146"/>
    <p:sldLayoutId id="2147483968" r:id="rId147"/>
    <p:sldLayoutId id="2147483969" r:id="rId148"/>
    <p:sldLayoutId id="2147483970" r:id="rId149"/>
    <p:sldLayoutId id="2147483971" r:id="rId150"/>
    <p:sldLayoutId id="2147483972" r:id="rId151"/>
    <p:sldLayoutId id="2147483973" r:id="rId152"/>
    <p:sldLayoutId id="2147483974" r:id="rId153"/>
    <p:sldLayoutId id="2147483975" r:id="rId154"/>
    <p:sldLayoutId id="2147483976" r:id="rId155"/>
    <p:sldLayoutId id="2147483977" r:id="rId156"/>
    <p:sldLayoutId id="2147483978" r:id="rId157"/>
    <p:sldLayoutId id="2147483979" r:id="rId158"/>
    <p:sldLayoutId id="2147483980" r:id="rId159"/>
    <p:sldLayoutId id="2147483981" r:id="rId160"/>
    <p:sldLayoutId id="2147483982" r:id="rId161"/>
    <p:sldLayoutId id="2147483983" r:id="rId162"/>
    <p:sldLayoutId id="2147483984" r:id="rId163"/>
    <p:sldLayoutId id="2147483985" r:id="rId164"/>
    <p:sldLayoutId id="2147483986" r:id="rId165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4C9939A-617C-3E44-A0D0-909C79756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72267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8" y="1325974"/>
            <a:ext cx="11154344" cy="445660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F729D7-DBF0-1846-87E5-720E70F9E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7567" y="6356350"/>
            <a:ext cx="4189003" cy="136526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rogramme and Policy Committee Meeting, 16 – 17 May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918EB43-CEEF-AF40-88AE-32CEA15C64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51"/>
            <a:ext cx="261629" cy="13334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B746B08-255A-2748-8A21-40BE94A17FD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24990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8" r:id="rId1"/>
    <p:sldLayoutId id="2147484059" r:id="rId2"/>
    <p:sldLayoutId id="2147484060" r:id="rId3"/>
    <p:sldLayoutId id="2147484061" r:id="rId4"/>
    <p:sldLayoutId id="2147484062" r:id="rId5"/>
    <p:sldLayoutId id="2147484063" r:id="rId6"/>
    <p:sldLayoutId id="2147484064" r:id="rId7"/>
    <p:sldLayoutId id="2147484065" r:id="rId8"/>
    <p:sldLayoutId id="2147484066" r:id="rId9"/>
    <p:sldLayoutId id="2147484067" r:id="rId10"/>
    <p:sldLayoutId id="2147484068" r:id="rId11"/>
    <p:sldLayoutId id="2147484069" r:id="rId12"/>
    <p:sldLayoutId id="2147484070" r:id="rId13"/>
    <p:sldLayoutId id="2147484071" r:id="rId14"/>
    <p:sldLayoutId id="2147484072" r:id="rId15"/>
    <p:sldLayoutId id="2147484073" r:id="rId16"/>
    <p:sldLayoutId id="2147484074" r:id="rId17"/>
    <p:sldLayoutId id="2147484075" r:id="rId18"/>
    <p:sldLayoutId id="2147484076" r:id="rId19"/>
    <p:sldLayoutId id="2147484077" r:id="rId20"/>
    <p:sldLayoutId id="2147484078" r:id="rId21"/>
    <p:sldLayoutId id="2147484079" r:id="rId22"/>
    <p:sldLayoutId id="2147484080" r:id="rId23"/>
    <p:sldLayoutId id="2147484081" r:id="rId24"/>
    <p:sldLayoutId id="2147484082" r:id="rId25"/>
    <p:sldLayoutId id="2147484083" r:id="rId26"/>
    <p:sldLayoutId id="2147484084" r:id="rId27"/>
    <p:sldLayoutId id="2147484085" r:id="rId28"/>
    <p:sldLayoutId id="2147484086" r:id="rId29"/>
    <p:sldLayoutId id="2147484087" r:id="rId30"/>
    <p:sldLayoutId id="2147484088" r:id="rId31"/>
    <p:sldLayoutId id="2147484089" r:id="rId32"/>
    <p:sldLayoutId id="2147484090" r:id="rId33"/>
    <p:sldLayoutId id="2147484091" r:id="rId34"/>
    <p:sldLayoutId id="2147484092" r:id="rId35"/>
    <p:sldLayoutId id="2147484093" r:id="rId36"/>
    <p:sldLayoutId id="2147484094" r:id="rId37"/>
    <p:sldLayoutId id="2147484095" r:id="rId38"/>
    <p:sldLayoutId id="2147484096" r:id="rId39"/>
    <p:sldLayoutId id="2147484097" r:id="rId40"/>
    <p:sldLayoutId id="2147484098" r:id="rId41"/>
    <p:sldLayoutId id="2147484099" r:id="rId42"/>
    <p:sldLayoutId id="2147484100" r:id="rId43"/>
    <p:sldLayoutId id="2147484101" r:id="rId44"/>
    <p:sldLayoutId id="2147484102" r:id="rId45"/>
    <p:sldLayoutId id="2147484103" r:id="rId46"/>
    <p:sldLayoutId id="2147484104" r:id="rId4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25">
          <p15:clr>
            <a:srgbClr val="F26B43"/>
          </p15:clr>
        </p15:guide>
        <p15:guide id="3" pos="7355">
          <p15:clr>
            <a:srgbClr val="F26B43"/>
          </p15:clr>
        </p15:guide>
        <p15:guide id="4" orient="horz" pos="232">
          <p15:clr>
            <a:srgbClr val="F26B43"/>
          </p15:clr>
        </p15:guide>
        <p15:guide id="5" orient="horz" pos="4088">
          <p15:clr>
            <a:srgbClr val="F26B43"/>
          </p15:clr>
        </p15:guide>
        <p15:guide id="7" orient="horz" pos="822">
          <p15:clr>
            <a:srgbClr val="F26B43"/>
          </p15:clr>
        </p15:guide>
        <p15:guide id="9" orient="horz" pos="3725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00DCFBB-43DB-0686-A46C-A6C9F5D4F9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5"/>
            </p:custDataLst>
            <p:extLst>
              <p:ext uri="{D42A27DB-BD31-4B8C-83A1-F6EECF244321}">
                <p14:modId xmlns:p14="http://schemas.microsoft.com/office/powerpoint/2010/main" val="1830095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6" imgW="415" imgH="416" progId="TCLayout.ActiveDocument.1">
                  <p:embed/>
                </p:oleObj>
              </mc:Choice>
              <mc:Fallback>
                <p:oleObj name="think-cell Slide" r:id="rId56" imgW="415" imgH="4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00DCFBB-43DB-0686-A46C-A6C9F5D4F9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4C9939A-617C-3E44-A0D0-909C79756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72267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8" y="1325974"/>
            <a:ext cx="11154344" cy="445660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F729D7-DBF0-1846-87E5-720E70F9E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7567" y="6356350"/>
            <a:ext cx="4189003" cy="136526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Technical Annex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918EB43-CEEF-AF40-88AE-32CEA15C64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51"/>
            <a:ext cx="261629" cy="13334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B746B08-255A-2748-8A21-40BE94A17FD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55603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7" r:id="rId1"/>
    <p:sldLayoutId id="2147484108" r:id="rId2"/>
    <p:sldLayoutId id="2147484109" r:id="rId3"/>
    <p:sldLayoutId id="2147484110" r:id="rId4"/>
    <p:sldLayoutId id="2147484111" r:id="rId5"/>
    <p:sldLayoutId id="2147484112" r:id="rId6"/>
    <p:sldLayoutId id="2147484113" r:id="rId7"/>
    <p:sldLayoutId id="2147484114" r:id="rId8"/>
    <p:sldLayoutId id="2147484115" r:id="rId9"/>
    <p:sldLayoutId id="2147484116" r:id="rId10"/>
    <p:sldLayoutId id="2147484117" r:id="rId11"/>
    <p:sldLayoutId id="2147484118" r:id="rId12"/>
    <p:sldLayoutId id="2147484119" r:id="rId13"/>
    <p:sldLayoutId id="2147484120" r:id="rId14"/>
    <p:sldLayoutId id="2147484121" r:id="rId15"/>
    <p:sldLayoutId id="2147484122" r:id="rId16"/>
    <p:sldLayoutId id="2147484123" r:id="rId17"/>
    <p:sldLayoutId id="2147484124" r:id="rId18"/>
    <p:sldLayoutId id="2147484125" r:id="rId19"/>
    <p:sldLayoutId id="2147484126" r:id="rId20"/>
    <p:sldLayoutId id="2147484127" r:id="rId21"/>
    <p:sldLayoutId id="2147484128" r:id="rId22"/>
    <p:sldLayoutId id="2147484129" r:id="rId23"/>
    <p:sldLayoutId id="2147484130" r:id="rId24"/>
    <p:sldLayoutId id="2147484131" r:id="rId25"/>
    <p:sldLayoutId id="2147484132" r:id="rId26"/>
    <p:sldLayoutId id="2147484133" r:id="rId27"/>
    <p:sldLayoutId id="2147484134" r:id="rId28"/>
    <p:sldLayoutId id="2147484135" r:id="rId29"/>
    <p:sldLayoutId id="2147484136" r:id="rId30"/>
    <p:sldLayoutId id="2147484137" r:id="rId31"/>
    <p:sldLayoutId id="2147484138" r:id="rId32"/>
    <p:sldLayoutId id="2147484139" r:id="rId33"/>
    <p:sldLayoutId id="2147484140" r:id="rId34"/>
    <p:sldLayoutId id="2147484141" r:id="rId35"/>
    <p:sldLayoutId id="2147484142" r:id="rId36"/>
    <p:sldLayoutId id="2147484143" r:id="rId37"/>
    <p:sldLayoutId id="2147484144" r:id="rId38"/>
    <p:sldLayoutId id="2147484145" r:id="rId39"/>
    <p:sldLayoutId id="2147484146" r:id="rId40"/>
    <p:sldLayoutId id="2147484147" r:id="rId41"/>
    <p:sldLayoutId id="2147484148" r:id="rId42"/>
    <p:sldLayoutId id="2147484149" r:id="rId43"/>
    <p:sldLayoutId id="2147484150" r:id="rId44"/>
    <p:sldLayoutId id="2147484151" r:id="rId45"/>
    <p:sldLayoutId id="2147484152" r:id="rId46"/>
    <p:sldLayoutId id="2147484153" r:id="rId47"/>
    <p:sldLayoutId id="2147484154" r:id="rId48"/>
    <p:sldLayoutId id="2147484155" r:id="rId49"/>
    <p:sldLayoutId id="2147484156" r:id="rId50"/>
    <p:sldLayoutId id="2147484157" r:id="rId51"/>
    <p:sldLayoutId id="2147484158" r:id="rId52"/>
    <p:sldLayoutId id="2147484159" r:id="rId5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25">
          <p15:clr>
            <a:srgbClr val="F26B43"/>
          </p15:clr>
        </p15:guide>
        <p15:guide id="3" pos="7355">
          <p15:clr>
            <a:srgbClr val="F26B43"/>
          </p15:clr>
        </p15:guide>
        <p15:guide id="4" orient="horz" pos="232">
          <p15:clr>
            <a:srgbClr val="F26B43"/>
          </p15:clr>
        </p15:guide>
        <p15:guide id="5" orient="horz" pos="4088">
          <p15:clr>
            <a:srgbClr val="F26B43"/>
          </p15:clr>
        </p15:guide>
        <p15:guide id="7" orient="horz" pos="822">
          <p15:clr>
            <a:srgbClr val="F26B43"/>
          </p15:clr>
        </p15:guide>
        <p15:guide id="9" orient="horz" pos="37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7.xml"/><Relationship Id="rId4" Type="http://schemas.openxmlformats.org/officeDocument/2006/relationships/chart" Target="../charts/char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7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3" Type="http://schemas.openxmlformats.org/officeDocument/2006/relationships/image" Target="../media/image57.png"/><Relationship Id="rId7" Type="http://schemas.openxmlformats.org/officeDocument/2006/relationships/image" Target="../media/image61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60.png"/><Relationship Id="rId11" Type="http://schemas.openxmlformats.org/officeDocument/2006/relationships/image" Target="../media/image65.png"/><Relationship Id="rId5" Type="http://schemas.openxmlformats.org/officeDocument/2006/relationships/image" Target="../media/image59.png"/><Relationship Id="rId10" Type="http://schemas.openxmlformats.org/officeDocument/2006/relationships/image" Target="../media/image64.png"/><Relationship Id="rId4" Type="http://schemas.openxmlformats.org/officeDocument/2006/relationships/image" Target="../media/image58.png"/><Relationship Id="rId9" Type="http://schemas.openxmlformats.org/officeDocument/2006/relationships/image" Target="../media/image63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pn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68.svg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731.xml"/><Relationship Id="rId6" Type="http://schemas.openxmlformats.org/officeDocument/2006/relationships/image" Target="../media/image67.png"/><Relationship Id="rId5" Type="http://schemas.openxmlformats.org/officeDocument/2006/relationships/image" Target="../media/image66.emf"/><Relationship Id="rId4" Type="http://schemas.openxmlformats.org/officeDocument/2006/relationships/oleObject" Target="../embeddings/oleObject168.bin"/><Relationship Id="rId9" Type="http://schemas.openxmlformats.org/officeDocument/2006/relationships/image" Target="../media/image70.sv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20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51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5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5ECF16F-F233-4E82-1DEB-41DE29C812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2745132"/>
            <a:ext cx="11154344" cy="968452"/>
          </a:xfrm>
        </p:spPr>
        <p:txBody>
          <a:bodyPr>
            <a:normAutofit fontScale="90000"/>
          </a:bodyPr>
          <a:lstStyle/>
          <a:p>
            <a:r>
              <a:rPr lang="pt" dirty="0"/>
              <a:t>Restituição da Avaliação Conjunta da Gavi à CCIA</a:t>
            </a:r>
            <a:endParaRPr lang="en-US" dirty="0"/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D2A3A60D-F281-928D-C2DD-416F6F6B8C6E}"/>
              </a:ext>
            </a:extLst>
          </p:cNvPr>
          <p:cNvSpPr txBox="1">
            <a:spLocks/>
          </p:cNvSpPr>
          <p:nvPr/>
        </p:nvSpPr>
        <p:spPr>
          <a:xfrm>
            <a:off x="515938" y="2090645"/>
            <a:ext cx="7964947" cy="234609"/>
          </a:xfrm>
          <a:prstGeom prst="rect">
            <a:avLst/>
          </a:prstGeom>
        </p:spPr>
        <p:txBody>
          <a:bodyPr vert="horz" lIns="0" tIns="0" rIns="0" bIns="0" rtlCol="0">
            <a:normAutofit fontScale="92500"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00" kern="1200" spc="3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" dirty="0"/>
              <a:t>24 DE JANEIRO DE 2024</a:t>
            </a:r>
          </a:p>
        </p:txBody>
      </p:sp>
    </p:spTree>
    <p:extLst>
      <p:ext uri="{BB962C8B-B14F-4D97-AF65-F5344CB8AC3E}">
        <p14:creationId xmlns:p14="http://schemas.microsoft.com/office/powerpoint/2010/main" val="22974758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EC97A9-6835-2555-6D11-A422E39E15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B4A3E6-3454-D0E5-61EB-811C5BE9D2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 fontScale="90000"/>
          </a:bodyPr>
          <a:lstStyle/>
          <a:p>
            <a:r>
              <a:rPr lang="pt" dirty="0"/>
              <a:t>Mais de US$ 2 milhões utilizados em 2024, mas absorção deve pelo menos dobrar em 2025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F4286F1-E2E0-6266-20E9-DBCE842B5754}"/>
              </a:ext>
            </a:extLst>
          </p:cNvPr>
          <p:cNvSpPr txBox="1">
            <a:spLocks/>
          </p:cNvSpPr>
          <p:nvPr/>
        </p:nvSpPr>
        <p:spPr>
          <a:xfrm>
            <a:off x="5424206" y="987618"/>
            <a:ext cx="6264872" cy="293057"/>
          </a:xfrm>
          <a:prstGeom prst="rect">
            <a:avLst/>
          </a:prstGeom>
        </p:spPr>
        <p:txBody>
          <a:bodyPr vert="horz" lIns="0" tIns="0" rIns="0" bIns="0" numCol="1" spcCol="180000" rtlCol="0">
            <a:normAutofit fontScale="92500"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0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 startAt="7"/>
              <a:tabLst>
                <a:tab pos="457200" algn="l"/>
              </a:tabLst>
            </a:pPr>
            <a:endParaRPr lang="en-US" dirty="0"/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AA43DBD7-B057-E2E5-2F1C-B763B6265F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</p:spPr>
        <p:txBody>
          <a:bodyPr/>
          <a:lstStyle/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10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7344BB2C-3368-DCDF-0D03-2E5CBD692C8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89659647"/>
              </p:ext>
            </p:extLst>
          </p:nvPr>
        </p:nvGraphicFramePr>
        <p:xfrm>
          <a:off x="515937" y="1620769"/>
          <a:ext cx="7764463" cy="4395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B9720F2-36E0-0C8B-B8EB-1BF599029930}"/>
              </a:ext>
            </a:extLst>
          </p:cNvPr>
          <p:cNvSpPr txBox="1">
            <a:spLocks/>
          </p:cNvSpPr>
          <p:nvPr/>
        </p:nvSpPr>
        <p:spPr>
          <a:xfrm>
            <a:off x="8400164" y="1987326"/>
            <a:ext cx="3275900" cy="4146774"/>
          </a:xfrm>
          <a:prstGeom prst="rect">
            <a:avLst/>
          </a:prstGeom>
        </p:spPr>
        <p:txBody>
          <a:bodyPr vert="horz" lIns="0" tIns="0" rIns="0" bIns="0" numCol="1" spcCol="180000" rtlCol="0">
            <a:normAutofit fontScale="92500" lnSpcReduction="20000"/>
          </a:bodyPr>
          <a:lstStyle>
            <a:lvl1pPr marL="342900" indent="-3429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7000"/>
              </a:lnSpc>
              <a:buClr>
                <a:srgbClr val="C00000"/>
              </a:buClr>
              <a:buSzPct val="125000"/>
              <a:buFont typeface="Arial" panose="020B0604020202020204" pitchFamily="34" charset="0"/>
              <a:buChar char="!"/>
            </a:pPr>
            <a:r>
              <a:rPr lang="pt" sz="2000" b="1" kern="100" dirty="0">
                <a:solidFill>
                  <a:srgbClr val="C00000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Necessidade de duplicar a absorção de HSS2 e CDS3 em 2025 em comparação com 2024, uma vez que estes subsídios terminam em dezembro</a:t>
            </a:r>
          </a:p>
          <a:p>
            <a:pPr>
              <a:lnSpc>
                <a:spcPct val="107000"/>
              </a:lnSpc>
              <a:buClr>
                <a:srgbClr val="C00000"/>
              </a:buClr>
              <a:buSzPct val="125000"/>
              <a:buFont typeface="Arial" panose="020B0604020202020204" pitchFamily="34" charset="0"/>
              <a:buChar char="!"/>
            </a:pPr>
            <a:r>
              <a:rPr lang="pt" sz="2000" b="1" kern="100" dirty="0">
                <a:solidFill>
                  <a:srgbClr val="C00000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Importância da estreita colaboração entre a UGCP e o PEV (e outras entidades implementadoras) de acordo com o manual de procedimentos para atingir os objetivos</a:t>
            </a:r>
          </a:p>
          <a:p>
            <a:pPr>
              <a:lnSpc>
                <a:spcPct val="107000"/>
              </a:lnSpc>
              <a:buClr>
                <a:srgbClr val="C00000"/>
              </a:buClr>
              <a:buSzPct val="125000"/>
              <a:buFont typeface="Symbol" panose="05050102010706020507" pitchFamily="18" charset="2"/>
              <a:buChar char=""/>
            </a:pPr>
            <a:endParaRPr lang="fr-FR" sz="2000" kern="100" dirty="0">
              <a:solidFill>
                <a:srgbClr val="C00000"/>
              </a:solidFill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AEE8A98-A72B-D20B-C44B-F772204035FF}"/>
              </a:ext>
            </a:extLst>
          </p:cNvPr>
          <p:cNvSpPr txBox="1">
            <a:spLocks/>
          </p:cNvSpPr>
          <p:nvPr/>
        </p:nvSpPr>
        <p:spPr>
          <a:xfrm>
            <a:off x="515937" y="1446034"/>
            <a:ext cx="8257002" cy="293057"/>
          </a:xfrm>
          <a:prstGeom prst="rect">
            <a:avLst/>
          </a:prstGeom>
        </p:spPr>
        <p:txBody>
          <a:bodyPr vert="horz" lIns="0" tIns="0" rIns="0" bIns="0" numCol="1" spcCol="18000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0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7000"/>
              </a:lnSpc>
              <a:spcAft>
                <a:spcPts val="800"/>
              </a:spcAft>
              <a:tabLst>
                <a:tab pos="457200" algn="l"/>
              </a:tabLst>
            </a:pPr>
            <a:r>
              <a:rPr lang="pt" sz="1800" b="1" i="1" dirty="0"/>
              <a:t>Subsídios Gavi, US$</a:t>
            </a:r>
            <a:endParaRPr lang="en-US" sz="1800" b="1" i="1" dirty="0"/>
          </a:p>
        </p:txBody>
      </p:sp>
    </p:spTree>
    <p:extLst>
      <p:ext uri="{BB962C8B-B14F-4D97-AF65-F5344CB8AC3E}">
        <p14:creationId xmlns:p14="http://schemas.microsoft.com/office/powerpoint/2010/main" val="9047869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7B48BD-B3C9-0826-4B55-E9DBD751D1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657934-1447-3695-1407-F8A77A759E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 fontScale="90000"/>
          </a:bodyPr>
          <a:lstStyle/>
          <a:p>
            <a:r>
              <a:rPr lang="pt" dirty="0"/>
              <a:t>Assistência técnica geralmente no caminho certo, sendo necessários alguns ajuste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B07E08D-7D2A-B25A-F4A5-5A23442A62F8}"/>
              </a:ext>
            </a:extLst>
          </p:cNvPr>
          <p:cNvSpPr txBox="1">
            <a:spLocks/>
          </p:cNvSpPr>
          <p:nvPr/>
        </p:nvSpPr>
        <p:spPr>
          <a:xfrm>
            <a:off x="5424206" y="987618"/>
            <a:ext cx="6264872" cy="293057"/>
          </a:xfrm>
          <a:prstGeom prst="rect">
            <a:avLst/>
          </a:prstGeom>
        </p:spPr>
        <p:txBody>
          <a:bodyPr vert="horz" lIns="0" tIns="0" rIns="0" bIns="0" numCol="1" spcCol="180000" rtlCol="0">
            <a:normAutofit fontScale="92500"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0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 startAt="7"/>
              <a:tabLst>
                <a:tab pos="457200" algn="l"/>
              </a:tabLst>
            </a:pPr>
            <a:endParaRPr lang="en-US" dirty="0"/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BBFA057E-C734-1138-FC2C-3DA3EC033E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</p:spPr>
        <p:txBody>
          <a:bodyPr/>
          <a:lstStyle/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11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9F133CC-4A64-83D1-B670-49890298903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90001767"/>
              </p:ext>
            </p:extLst>
          </p:nvPr>
        </p:nvGraphicFramePr>
        <p:xfrm>
          <a:off x="345767" y="1551407"/>
          <a:ext cx="4340533" cy="40746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4EAE3641-7C5A-9F6E-F19E-833B08BC4AB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638817"/>
              </p:ext>
            </p:extLst>
          </p:nvPr>
        </p:nvGraphicFramePr>
        <p:xfrm>
          <a:off x="4686300" y="1551407"/>
          <a:ext cx="4340533" cy="40746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AF19294-694D-F945-81EA-15EBF6A6C3E2}"/>
              </a:ext>
            </a:extLst>
          </p:cNvPr>
          <p:cNvSpPr txBox="1">
            <a:spLocks/>
          </p:cNvSpPr>
          <p:nvPr/>
        </p:nvSpPr>
        <p:spPr>
          <a:xfrm>
            <a:off x="9170504" y="1676418"/>
            <a:ext cx="2675729" cy="4074694"/>
          </a:xfrm>
          <a:prstGeom prst="rect">
            <a:avLst/>
          </a:prstGeom>
        </p:spPr>
        <p:txBody>
          <a:bodyPr vert="horz" lIns="0" tIns="0" rIns="0" bIns="0" numCol="1" spcCol="180000" rtlCol="0">
            <a:normAutofit fontScale="92500"/>
          </a:bodyPr>
          <a:lstStyle>
            <a:lvl1pPr marL="342900" indent="-3429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7000"/>
              </a:lnSpc>
              <a:buClr>
                <a:srgbClr val="C00000"/>
              </a:buClr>
              <a:buSzPct val="125000"/>
              <a:buFont typeface="Arial" panose="020B0604020202020204" pitchFamily="34" charset="0"/>
              <a:buChar char="!"/>
            </a:pPr>
            <a:r>
              <a:rPr lang="pt" sz="2000" b="1" kern="100" dirty="0">
                <a:solidFill>
                  <a:srgbClr val="C00000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Possibilidade de reprogramar uma atividade da OMS (plano de integração Covid-19)</a:t>
            </a:r>
          </a:p>
          <a:p>
            <a:pPr>
              <a:lnSpc>
                <a:spcPct val="107000"/>
              </a:lnSpc>
              <a:buClr>
                <a:srgbClr val="C00000"/>
              </a:buClr>
              <a:buSzPct val="125000"/>
              <a:buFont typeface="Arial" panose="020B0604020202020204" pitchFamily="34" charset="0"/>
              <a:buChar char="!"/>
            </a:pPr>
            <a:r>
              <a:rPr lang="pt" sz="2000" b="1" kern="100" dirty="0">
                <a:solidFill>
                  <a:srgbClr val="C00000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Garantir a complementaridade de atividades entre parceiros (por exemplo, UNICEF/ </a:t>
            </a:r>
            <a:r>
              <a:rPr lang="pt" sz="2000" b="1" kern="100" dirty="0" err="1">
                <a:solidFill>
                  <a:srgbClr val="C00000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Solina </a:t>
            </a:r>
            <a:r>
              <a:rPr lang="pt" sz="2000" b="1" kern="100" dirty="0">
                <a:solidFill>
                  <a:srgbClr val="C00000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para apoio a nível regional)</a:t>
            </a:r>
          </a:p>
          <a:p>
            <a:pPr>
              <a:lnSpc>
                <a:spcPct val="107000"/>
              </a:lnSpc>
              <a:buClr>
                <a:srgbClr val="C00000"/>
              </a:buClr>
              <a:buSzPct val="125000"/>
              <a:buFont typeface="Symbol" panose="05050102010706020507" pitchFamily="18" charset="2"/>
              <a:buChar char=""/>
            </a:pPr>
            <a:endParaRPr lang="fr-FR" sz="2000" kern="100" dirty="0">
              <a:solidFill>
                <a:srgbClr val="C00000"/>
              </a:solidFill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036460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E73673-96B6-8162-42F0-C42D54EF1B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6C6088-08EF-D51B-CAE9-7439D86D4E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288788"/>
            <a:ext cx="11154344" cy="592778"/>
          </a:xfrm>
        </p:spPr>
        <p:txBody>
          <a:bodyPr anchor="t">
            <a:normAutofit/>
          </a:bodyPr>
          <a:lstStyle/>
          <a:p>
            <a:r>
              <a:rPr lang="pt" sz="3200" dirty="0"/>
              <a:t>Principais pontos de ação após a avaliação conjunta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6F5B4E29-0202-77CA-0A43-178B6CF7DBF0}"/>
              </a:ext>
            </a:extLst>
          </p:cNvPr>
          <p:cNvSpPr txBox="1">
            <a:spLocks/>
          </p:cNvSpPr>
          <p:nvPr/>
        </p:nvSpPr>
        <p:spPr>
          <a:xfrm>
            <a:off x="5424206" y="987618"/>
            <a:ext cx="6264872" cy="293057"/>
          </a:xfrm>
          <a:prstGeom prst="rect">
            <a:avLst/>
          </a:prstGeom>
        </p:spPr>
        <p:txBody>
          <a:bodyPr vert="horz" lIns="0" tIns="0" rIns="0" bIns="0" numCol="1" spcCol="180000" rtlCol="0">
            <a:normAutofit fontScale="92500"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0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 startAt="7"/>
              <a:tabLst>
                <a:tab pos="457200" algn="l"/>
              </a:tabLst>
            </a:pPr>
            <a:endParaRPr lang="en-US" dirty="0"/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43806B3C-8719-DF15-E207-7B48395412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</p:spPr>
        <p:txBody>
          <a:bodyPr/>
          <a:lstStyle/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12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D4D230BA-9E26-E5EC-8C0D-0391A8EC39F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1833613"/>
              </p:ext>
            </p:extLst>
          </p:nvPr>
        </p:nvGraphicFramePr>
        <p:xfrm>
          <a:off x="502921" y="728650"/>
          <a:ext cx="11435079" cy="603504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6062979">
                  <a:extLst>
                    <a:ext uri="{9D8B030D-6E8A-4147-A177-3AD203B41FA5}">
                      <a16:colId xmlns:a16="http://schemas.microsoft.com/office/drawing/2014/main" val="3480227807"/>
                    </a:ext>
                  </a:extLst>
                </a:gridCol>
                <a:gridCol w="1295400">
                  <a:extLst>
                    <a:ext uri="{9D8B030D-6E8A-4147-A177-3AD203B41FA5}">
                      <a16:colId xmlns:a16="http://schemas.microsoft.com/office/drawing/2014/main" val="21933470"/>
                    </a:ext>
                  </a:extLst>
                </a:gridCol>
                <a:gridCol w="4076700">
                  <a:extLst>
                    <a:ext uri="{9D8B030D-6E8A-4147-A177-3AD203B41FA5}">
                      <a16:colId xmlns:a16="http://schemas.microsoft.com/office/drawing/2014/main" val="1594734294"/>
                    </a:ext>
                  </a:extLst>
                </a:gridCol>
              </a:tblGrid>
              <a:tr h="203889">
                <a:tc>
                  <a:txBody>
                    <a:bodyPr/>
                    <a:lstStyle/>
                    <a:p>
                      <a:r>
                        <a:rPr lang="pt" sz="1600" dirty="0"/>
                        <a:t>Ação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" sz="1600" dirty="0"/>
                        <a:t>Responsável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" sz="1600" dirty="0"/>
                        <a:t>Próxima data de vencimento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17350400"/>
                  </a:ext>
                </a:extLst>
              </a:tr>
              <a:tr h="352172">
                <a:tc>
                  <a:txBody>
                    <a:bodyPr/>
                    <a:lstStyle/>
                    <a:p>
                      <a:r>
                        <a:rPr lang="pt" sz="1600" dirty="0"/>
                        <a:t>Planear um exercício de enumeração de crianças por parte dos agentes comunitários de saúde para corrigir a meta do PAV</a:t>
                      </a:r>
                      <a:endParaRPr lang="en-US" sz="16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" sz="1600" dirty="0"/>
                        <a:t>PAV</a:t>
                      </a:r>
                      <a:endParaRPr lang="en-US" sz="16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" sz="1600" dirty="0"/>
                        <a:t>Desenvolver um plano com o apoio dos parceiros até ao final de fevereiro</a:t>
                      </a:r>
                      <a:endParaRPr lang="en-US" sz="16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6472819"/>
                  </a:ext>
                </a:extLst>
              </a:tr>
              <a:tr h="500455">
                <a:tc>
                  <a:txBody>
                    <a:bodyPr/>
                    <a:lstStyle/>
                    <a:p>
                      <a:r>
                        <a:rPr lang="pt" sz="1600" dirty="0"/>
                        <a:t>Ajustar o protocolo da próxima pesquisa de cobertura do Projeto Bandim para entender melhor os motivos da taxa de abandono e as discrepâncias entre os dados administrativos e as pesquisas</a:t>
                      </a:r>
                      <a:endParaRPr lang="en-US" sz="16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" sz="1600" dirty="0"/>
                        <a:t>Projeto Bandim</a:t>
                      </a:r>
                      <a:endParaRPr lang="en-US" sz="16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" sz="1600" dirty="0"/>
                        <a:t>Faça uma proposta ajustada até o final de março</a:t>
                      </a:r>
                      <a:endParaRPr lang="en-US" sz="16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5236481"/>
                  </a:ext>
                </a:extLst>
              </a:tr>
              <a:tr h="352172">
                <a:tc>
                  <a:txBody>
                    <a:bodyPr/>
                    <a:lstStyle/>
                    <a:p>
                      <a:r>
                        <a:rPr lang="pt" sz="1600" dirty="0"/>
                        <a:t>Priorizar atividades e investimentos em relação à qualidade dos dados para o ano de 2025</a:t>
                      </a:r>
                      <a:endParaRPr lang="en-US" sz="16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" sz="1600" dirty="0"/>
                        <a:t>PAV</a:t>
                      </a:r>
                      <a:endParaRPr lang="en-US" sz="16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" sz="1600" dirty="0"/>
                        <a:t>Desenvolva uma proposta até o final de fevereiro</a:t>
                      </a:r>
                      <a:endParaRPr lang="en-US" sz="16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0401986"/>
                  </a:ext>
                </a:extLst>
              </a:tr>
              <a:tr h="645565">
                <a:tc>
                  <a:txBody>
                    <a:bodyPr/>
                    <a:lstStyle/>
                    <a:p>
                      <a:r>
                        <a:rPr lang="pt" sz="1600" dirty="0"/>
                        <a:t>Definir a futura contribuição da Gavi para a Saúde Comunitária e rever o papel e a remuneração dos ACS na vacinação durante a revisão da Estratégia Nacional de Saúde Comunitária</a:t>
                      </a:r>
                      <a:endParaRPr lang="en-US" sz="16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" sz="1600" dirty="0"/>
                        <a:t>UNICEF</a:t>
                      </a:r>
                      <a:endParaRPr lang="en-US" sz="16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" sz="1600" dirty="0"/>
                        <a:t>Organizar um intercâmbio com o Departamento de Saúde Comunitária e parceiros até ao final de fevereiro</a:t>
                      </a:r>
                      <a:endParaRPr lang="en-US" sz="16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9022024"/>
                  </a:ext>
                </a:extLst>
              </a:tr>
              <a:tr h="352172">
                <a:tc>
                  <a:txBody>
                    <a:bodyPr/>
                    <a:lstStyle/>
                    <a:p>
                      <a:r>
                        <a:rPr lang="pt" sz="1600" dirty="0"/>
                        <a:t>Integrar as atividades do Big Catch-up na campanha contra a febre amarela</a:t>
                      </a:r>
                      <a:endParaRPr lang="en-US" sz="16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" sz="1600" dirty="0"/>
                        <a:t>PAV</a:t>
                      </a:r>
                      <a:endParaRPr lang="en-US" sz="16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" sz="1600" dirty="0"/>
                        <a:t>Teleconferência com Gavi/OMS/UNICEF (escritórios regionais) em meados de fevereiro</a:t>
                      </a:r>
                      <a:endParaRPr lang="en-US" sz="16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300612"/>
                  </a:ext>
                </a:extLst>
              </a:tr>
              <a:tr h="352172">
                <a:tc>
                  <a:txBody>
                    <a:bodyPr/>
                    <a:lstStyle/>
                    <a:p>
                      <a:r>
                        <a:rPr lang="pt" sz="1600" dirty="0"/>
                        <a:t>Treinamento do PEV e DRS sobre o manual de procedimentos da UGCP</a:t>
                      </a:r>
                      <a:endParaRPr lang="en-US" sz="16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" sz="1600" dirty="0"/>
                        <a:t>UGCP</a:t>
                      </a:r>
                      <a:endParaRPr lang="en-US" sz="16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" sz="1600" dirty="0"/>
                        <a:t>Propor um programa de treinamento até meados de fevereiro</a:t>
                      </a:r>
                      <a:endParaRPr lang="en-US" sz="16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831803"/>
                  </a:ext>
                </a:extLst>
              </a:tr>
              <a:tr h="203889">
                <a:tc>
                  <a:txBody>
                    <a:bodyPr/>
                    <a:lstStyle/>
                    <a:p>
                      <a:r>
                        <a:rPr lang="pt" sz="1600" dirty="0"/>
                        <a:t>Reagendar atividade da AT face à Covid-19</a:t>
                      </a:r>
                      <a:endParaRPr lang="en-US" sz="16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" sz="1600" dirty="0"/>
                        <a:t>OMS</a:t>
                      </a:r>
                      <a:endParaRPr lang="en-US" sz="16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" sz="1600" dirty="0"/>
                        <a:t>Faça uma proposta ao PEV até meados de fevereiro</a:t>
                      </a:r>
                      <a:endParaRPr lang="en-US" sz="16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0125339"/>
                  </a:ext>
                </a:extLst>
              </a:tr>
              <a:tr h="500455">
                <a:tc>
                  <a:txBody>
                    <a:bodyPr/>
                    <a:lstStyle/>
                    <a:p>
                      <a:r>
                        <a:rPr lang="pt" sz="1600" dirty="0"/>
                        <a:t>Ajustar a cobertura regional da actividade AT da UNICEF na estratégia urbana para evitar sobreposição com Solina na região de Oio (Mansõa)</a:t>
                      </a:r>
                      <a:endParaRPr lang="en-US" sz="16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" sz="1600" dirty="0"/>
                        <a:t>UNICEF</a:t>
                      </a:r>
                      <a:endParaRPr lang="en-US" sz="16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" sz="1600" dirty="0"/>
                        <a:t>Propor outra região até meados de fevereiro</a:t>
                      </a:r>
                      <a:endParaRPr lang="en-US" sz="16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4486975"/>
                  </a:ext>
                </a:extLst>
              </a:tr>
              <a:tr h="500455">
                <a:tc>
                  <a:txBody>
                    <a:bodyPr/>
                    <a:lstStyle/>
                    <a:p>
                      <a:r>
                        <a:rPr lang="de-CH" sz="1600" dirty="0"/>
                        <a:t>Desenvolver um programa de formação, en complementaride com as atividades de formação da Solina</a:t>
                      </a:r>
                      <a:endParaRPr lang="en-US" sz="16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dirty="0"/>
                        <a:t>AMP</a:t>
                      </a:r>
                      <a:endParaRPr lang="en-US" sz="16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dirty="0"/>
                        <a:t>Faça uma proposta até fim de fevereiro</a:t>
                      </a:r>
                      <a:endParaRPr lang="en-US" sz="16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63922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3579254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EDC34E-DA43-8AA7-14EC-E35C5E6D6E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B51F54C6-37E2-ED5F-6792-048C381234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936624"/>
          </a:xfrm>
        </p:spPr>
        <p:txBody>
          <a:bodyPr>
            <a:normAutofit fontScale="90000"/>
          </a:bodyPr>
          <a:lstStyle/>
          <a:p>
            <a:r>
              <a:rPr lang="pt" dirty="0"/>
              <a:t>Objetivos completos do processo de planeamento de portfólio para 2026-2030 na Guiné-Bissau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AEACC7F-6594-ED1D-BB5E-8144E726FDDC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403498"/>
            <a:ext cx="11144930" cy="4976037"/>
          </a:xfrm>
        </p:spPr>
        <p:txBody>
          <a:bodyPr>
            <a:normAutofit lnSpcReduction="10000"/>
          </a:bodyPr>
          <a:lstStyle/>
          <a:p>
            <a:pPr marL="457200" indent="-457200">
              <a:buFont typeface="+mj-lt"/>
              <a:buAutoNum type="arabicPeriod"/>
            </a:pPr>
            <a:r>
              <a:rPr lang="pt" sz="2400" b="1" dirty="0"/>
              <a:t>Assegurar o apoio da Gavi para 2026-2030 </a:t>
            </a:r>
            <a:r>
              <a:rPr lang="pt" dirty="0"/>
              <a:t>para o Reforço dos Sistemas de Saúde (RSS), Otimização da Cadeia de Frio (CCEOP), Apoio a Novas Vacinas (NVS), Assistência Técnica (TCA), Subsídios para Introdução de Vacinas e campanhas ( VIG/Ops), e outro apoio</a:t>
            </a:r>
          </a:p>
          <a:p>
            <a:pPr marL="457200" indent="-457200">
              <a:buFont typeface="+mj-lt"/>
              <a:buAutoNum type="arabicPeriod"/>
            </a:pPr>
            <a:endParaRPr lang="pt-BR" dirty="0"/>
          </a:p>
          <a:p>
            <a:pPr marL="457200" indent="-457200">
              <a:buFont typeface="+mj-lt"/>
              <a:buAutoNum type="arabicPeriod"/>
            </a:pPr>
            <a:r>
              <a:rPr lang="pt" sz="2400" b="1" dirty="0"/>
              <a:t>Incorporar uma vacina candidata contra HPV e FPP </a:t>
            </a:r>
            <a:r>
              <a:rPr lang="pt" dirty="0"/>
              <a:t>, adaptando o processo às prioridades da estratégia Gavi 6.0</a:t>
            </a:r>
          </a:p>
          <a:p>
            <a:pPr marL="457200" indent="-457200">
              <a:buFont typeface="+mj-lt"/>
              <a:buAutoNum type="arabicPeriod"/>
            </a:pPr>
            <a:endParaRPr lang="pt-BR" dirty="0"/>
          </a:p>
          <a:p>
            <a:pPr marL="457200" indent="-457200">
              <a:buFont typeface="+mj-lt"/>
              <a:buAutoNum type="arabicPeriod"/>
            </a:pPr>
            <a:r>
              <a:rPr lang="pt" sz="2400" b="1" dirty="0"/>
              <a:t>Centrar uma Estratégia Nacional de Vacinação 2024-2028 </a:t>
            </a:r>
            <a:r>
              <a:rPr lang="pt" dirty="0"/>
              <a:t>como base para o PPF, garantindo que a vacina Gavi está alinhada com os nossos objectivos nacionais de vacinação e como prioridades do sistema de saúde e consolidando o documento da Guiné-Bissau como país piloto para esta nova abordagem.</a:t>
            </a:r>
          </a:p>
          <a:p>
            <a:pPr marL="457200" indent="-457200">
              <a:buFont typeface="+mj-lt"/>
              <a:buAutoNum type="arabicPeriod"/>
            </a:pPr>
            <a:endParaRPr lang="pt-PT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62EA528-D928-7DE2-707B-6589D0402FBD}"/>
              </a:ext>
            </a:extLst>
          </p:cNvPr>
          <p:cNvSpPr/>
          <p:nvPr/>
        </p:nvSpPr>
        <p:spPr>
          <a:xfrm>
            <a:off x="10398643" y="0"/>
            <a:ext cx="1793358" cy="26972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" dirty="0">
                <a:latin typeface="Arial" panose="020B0604020202020204" pitchFamily="34" charset="0"/>
                <a:cs typeface="Arial" panose="020B0604020202020204" pitchFamily="34" charset="0"/>
              </a:rPr>
              <a:t>Processo FPP</a:t>
            </a:r>
          </a:p>
        </p:txBody>
      </p:sp>
    </p:spTree>
    <p:extLst>
      <p:ext uri="{BB962C8B-B14F-4D97-AF65-F5344CB8AC3E}">
        <p14:creationId xmlns:p14="http://schemas.microsoft.com/office/powerpoint/2010/main" val="150660887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2D35E9-F965-E061-1518-076C885A3F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_title">
            <a:extLst>
              <a:ext uri="{FF2B5EF4-FFF2-40B4-BE49-F238E27FC236}">
                <a16:creationId xmlns:a16="http://schemas.microsoft.com/office/drawing/2014/main" id="{196DFC75-A497-68D9-53F4-5F033A33BA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7" y="329096"/>
            <a:ext cx="11407839" cy="592778"/>
          </a:xfrm>
        </p:spPr>
        <p:txBody>
          <a:bodyPr>
            <a:normAutofit fontScale="90000"/>
          </a:bodyPr>
          <a:lstStyle/>
          <a:p>
            <a:r>
              <a:rPr lang="pt" dirty="0"/>
              <a:t>Oportunidade de impacto total para 2025-2030 para atingir 90% de cobertura até 2030</a:t>
            </a:r>
            <a:endParaRPr dirty="0"/>
          </a:p>
        </p:txBody>
      </p:sp>
      <p:sp>
        <p:nvSpPr>
          <p:cNvPr id="4" name="text">
            <a:extLst>
              <a:ext uri="{FF2B5EF4-FFF2-40B4-BE49-F238E27FC236}">
                <a16:creationId xmlns:a16="http://schemas.microsoft.com/office/drawing/2014/main" id="{809A5EA5-6C77-694A-5C06-DF1FAC4DBB12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19579" y="951714"/>
            <a:ext cx="3516712" cy="5032694"/>
          </a:xfrm>
        </p:spPr>
        <p:txBody>
          <a:bodyPr>
            <a:norm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pt" sz="1600" dirty="0">
                <a:solidFill>
                  <a:srgbClr val="000000">
                    <a:alpha val="100000"/>
                  </a:srgbClr>
                </a:solidFill>
                <a:latin typeface="Arial"/>
                <a:cs typeface="Arial"/>
                <a:sym typeface="Arial"/>
              </a:rPr>
              <a:t>Esta análise mostra o impacto total da manutenção dos nossos níveis de 2023 em 90% até 2030. Manter uma redução a partir de 2023 </a:t>
            </a:r>
            <a:r>
              <a:rPr lang="pt" sz="1600" b="1" dirty="0">
                <a:solidFill>
                  <a:srgbClr val="000000">
                    <a:alpha val="100000"/>
                  </a:srgbClr>
                </a:solidFill>
                <a:latin typeface="Arial"/>
                <a:cs typeface="Arial"/>
                <a:sym typeface="Arial"/>
              </a:rPr>
              <a:t>permite evitar 18,9 mil mortes futuras </a:t>
            </a:r>
            <a:r>
              <a:rPr lang="pt" sz="1600" dirty="0">
                <a:solidFill>
                  <a:srgbClr val="000000">
                    <a:alpha val="100000"/>
                  </a:srgbClr>
                </a:solidFill>
                <a:latin typeface="Arial"/>
                <a:cs typeface="Arial"/>
                <a:sym typeface="Arial"/>
              </a:rPr>
              <a:t>, reduzir </a:t>
            </a:r>
            <a:r>
              <a:rPr lang="pt" sz="1600" b="1" dirty="0">
                <a:solidFill>
                  <a:srgbClr val="000000">
                    <a:alpha val="100000"/>
                  </a:srgbClr>
                </a:solidFill>
                <a:latin typeface="Arial"/>
                <a:cs typeface="Arial"/>
                <a:sym typeface="Arial"/>
              </a:rPr>
              <a:t>para 90% até 2030 permite evitar mas 5,7 mil mortes futuras. </a:t>
            </a:r>
            <a:r>
              <a:rPr lang="pt" sz="1600" dirty="0">
                <a:solidFill>
                  <a:srgbClr val="000000">
                    <a:alpha val="100000"/>
                  </a:srgbClr>
                </a:solidFill>
                <a:latin typeface="Arial"/>
                <a:cs typeface="Arial"/>
                <a:sym typeface="Arial"/>
              </a:rPr>
              <a:t>Manter e aumentar a cobertura de vacinas contra o </a:t>
            </a:r>
            <a:r>
              <a:rPr lang="pt" sz="1600" b="1" dirty="0">
                <a:solidFill>
                  <a:srgbClr val="000000">
                    <a:alpha val="100000"/>
                  </a:srgbClr>
                </a:solidFill>
                <a:latin typeface="Arial"/>
                <a:cs typeface="Arial"/>
                <a:sym typeface="Arial"/>
              </a:rPr>
              <a:t>risco de infecção </a:t>
            </a:r>
            <a:r>
              <a:rPr lang="pt" sz="1600" dirty="0">
                <a:solidFill>
                  <a:srgbClr val="000000">
                    <a:alpha val="100000"/>
                  </a:srgbClr>
                </a:solidFill>
                <a:latin typeface="Arial"/>
                <a:cs typeface="Arial"/>
                <a:sym typeface="Arial"/>
              </a:rPr>
              <a:t>só contribuirá para o impacto, mantendo as vacinas contra </a:t>
            </a:r>
            <a:r>
              <a:rPr lang="pt" sz="1600" b="1" dirty="0">
                <a:solidFill>
                  <a:srgbClr val="000000">
                    <a:alpha val="100000"/>
                  </a:srgbClr>
                </a:solidFill>
                <a:latin typeface="Arial"/>
                <a:cs typeface="Arial"/>
                <a:sym typeface="Arial"/>
              </a:rPr>
              <a:t>a febre do HPV .</a:t>
            </a:r>
            <a:endParaRPr lang="en-US" sz="1600" b="1" i="0" u="none" cap="none" dirty="0">
              <a:solidFill>
                <a:srgbClr val="000000">
                  <a:alpha val="100000"/>
                </a:srgbClr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78990068-0A2B-A707-6FB6-B62C1C533E72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3"/>
          <a:stretch>
            <a:fillRect/>
          </a:stretch>
        </p:blipFill>
        <p:spPr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8719CBE-9DB5-1841-A628-57083B57C2B3}"/>
              </a:ext>
            </a:extLst>
          </p:cNvPr>
          <p:cNvSpPr txBox="1"/>
          <p:nvPr/>
        </p:nvSpPr>
        <p:spPr>
          <a:xfrm>
            <a:off x="515937" y="6211669"/>
            <a:ext cx="98371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" sz="1200" b="0" i="0" u="none" cap="none" dirty="0">
                <a:solidFill>
                  <a:srgbClr val="000000">
                    <a:alpha val="100000"/>
                  </a:srgbClr>
                </a:solidFill>
                <a:latin typeface="Arial"/>
                <a:cs typeface="Arial"/>
                <a:sym typeface="Arial"/>
              </a:rPr>
              <a:t>Note-se que para as vacinas que ainda não foram introduzidas na Guiné-Bissau, este modelo assume que a vacina é introduzida em 2025 e atinge uma cobertura de 90% até 2030. O impacto está incluído tanto para </a:t>
            </a:r>
            <a:r>
              <a:rPr lang="pt" sz="1200" b="0" i="0" u="none" cap="none" dirty="0" err="1">
                <a:solidFill>
                  <a:srgbClr val="000000">
                    <a:alpha val="100000"/>
                  </a:srgbClr>
                </a:solidFill>
                <a:latin typeface="Arial"/>
                <a:cs typeface="Arial"/>
                <a:sym typeface="Arial"/>
              </a:rPr>
              <a:t>MenA </a:t>
            </a:r>
            <a:r>
              <a:rPr lang="pt" sz="1200" b="0" i="0" u="none" cap="none" dirty="0">
                <a:solidFill>
                  <a:srgbClr val="000000">
                    <a:alpha val="100000"/>
                  </a:srgbClr>
                </a:solidFill>
                <a:latin typeface="Arial"/>
                <a:cs typeface="Arial"/>
                <a:sym typeface="Arial"/>
              </a:rPr>
              <a:t>como para MMCV, mas o impacto do MMCV </a:t>
            </a:r>
            <a:r>
              <a:rPr lang="pt" sz="1200" b="0" i="1" u="none" cap="none" dirty="0">
                <a:solidFill>
                  <a:srgbClr val="000000">
                    <a:alpha val="100000"/>
                  </a:srgbClr>
                </a:solidFill>
                <a:latin typeface="Arial"/>
                <a:cs typeface="Arial"/>
                <a:sym typeface="Arial"/>
              </a:rPr>
              <a:t>inclui </a:t>
            </a:r>
            <a:r>
              <a:rPr lang="pt" sz="1200" b="0" u="none" cap="none" dirty="0">
                <a:solidFill>
                  <a:srgbClr val="000000">
                    <a:alpha val="100000"/>
                  </a:srgbClr>
                </a:solidFill>
                <a:latin typeface="Arial"/>
                <a:cs typeface="Arial"/>
                <a:sym typeface="Arial"/>
              </a:rPr>
              <a:t>o impacto da vacinação contra meningite A.</a:t>
            </a:r>
            <a:endParaRPr lang="en-US" sz="1200" b="0" i="0" u="none" cap="none" dirty="0">
              <a:solidFill>
                <a:srgbClr val="000000">
                  <a:alpha val="100000"/>
                </a:srgbClr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6212340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6784FD-E8AE-EC1D-3F33-A73DAC2D52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466EEF-CD60-3FA5-B166-0B7111521C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925766"/>
          </a:xfrm>
        </p:spPr>
        <p:txBody>
          <a:bodyPr>
            <a:normAutofit fontScale="90000"/>
          </a:bodyPr>
          <a:lstStyle/>
          <a:p>
            <a:r>
              <a:rPr lang="pt" dirty="0"/>
              <a:t>Metas e </a:t>
            </a:r>
            <a:r>
              <a:rPr lang="pt" dirty="0" err="1"/>
              <a:t>objetivos </a:t>
            </a:r>
            <a:r>
              <a:rPr lang="pt" dirty="0"/>
              <a:t>da Gavi para 2026-2030 serão considerados pelo FPP da Guiné-Bissau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9190644-2411-FE89-2D2A-8244365E43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15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A1AB616-C0C2-99BF-9D79-B1AD97B618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8757" y="1790982"/>
            <a:ext cx="11252622" cy="3636394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A5D4541C-82DF-FD25-06E2-17CC2E34AC32}"/>
              </a:ext>
            </a:extLst>
          </p:cNvPr>
          <p:cNvSpPr/>
          <p:nvPr/>
        </p:nvSpPr>
        <p:spPr>
          <a:xfrm>
            <a:off x="393404" y="1790982"/>
            <a:ext cx="861237" cy="80336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" dirty="0">
                <a:latin typeface="Arial" panose="020B0604020202020204" pitchFamily="34" charset="0"/>
                <a:cs typeface="Arial" panose="020B0604020202020204" pitchFamily="34" charset="0"/>
              </a:rPr>
              <a:t>Meta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F938171-BC91-8098-D184-742C72AF1FB8}"/>
              </a:ext>
            </a:extLst>
          </p:cNvPr>
          <p:cNvSpPr/>
          <p:nvPr/>
        </p:nvSpPr>
        <p:spPr>
          <a:xfrm>
            <a:off x="382771" y="2632370"/>
            <a:ext cx="871870" cy="385729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pt" dirty="0">
                <a:latin typeface="Arial" panose="020B0604020202020204" pitchFamily="34" charset="0"/>
                <a:cs typeface="Arial" panose="020B0604020202020204" pitchFamily="34" charset="0"/>
              </a:rPr>
              <a:t>Objetivos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0841C632-059A-79DD-19C3-92937E2F8783}"/>
              </a:ext>
            </a:extLst>
          </p:cNvPr>
          <p:cNvSpPr/>
          <p:nvPr/>
        </p:nvSpPr>
        <p:spPr>
          <a:xfrm>
            <a:off x="1339702" y="1790982"/>
            <a:ext cx="3327992" cy="803362"/>
          </a:xfrm>
          <a:prstGeom prst="round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" dirty="0">
                <a:latin typeface="Arial" panose="020B0604020202020204" pitchFamily="34" charset="0"/>
                <a:cs typeface="Arial" panose="020B0604020202020204" pitchFamily="34" charset="0"/>
              </a:rPr>
              <a:t>1. Introduzir e expandir ou usar vacinas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549AB470-FCD0-008F-8DE4-9198BE5213B9}"/>
              </a:ext>
            </a:extLst>
          </p:cNvPr>
          <p:cNvSpPr/>
          <p:nvPr/>
        </p:nvSpPr>
        <p:spPr>
          <a:xfrm>
            <a:off x="4735278" y="1790982"/>
            <a:ext cx="3327992" cy="803362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" dirty="0">
                <a:latin typeface="Arial" panose="020B0604020202020204" pitchFamily="34" charset="0"/>
                <a:cs typeface="Arial" panose="020B0604020202020204" pitchFamily="34" charset="0"/>
              </a:rPr>
              <a:t>2. Fortalecer seus sistemas de saúde para aumentar a equidade e a imunidade</a:t>
            </a:r>
            <a:endParaRPr lang="pt-P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C8C8FE75-7376-7B84-4F45-A7693039E411}"/>
              </a:ext>
            </a:extLst>
          </p:cNvPr>
          <p:cNvSpPr/>
          <p:nvPr/>
        </p:nvSpPr>
        <p:spPr>
          <a:xfrm>
            <a:off x="8148334" y="1801615"/>
            <a:ext cx="3327992" cy="803362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" dirty="0">
                <a:latin typeface="Arial" panose="020B0604020202020204" pitchFamily="34" charset="0"/>
                <a:cs typeface="Arial" panose="020B0604020202020204" pitchFamily="34" charset="0"/>
              </a:rPr>
              <a:t>3. Manter a sustentabilidade do programa e financiar programas de imunidade</a:t>
            </a:r>
            <a:endParaRPr lang="pt-P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26330EA-43F4-9C07-6D07-711C1BB99037}"/>
              </a:ext>
            </a:extLst>
          </p:cNvPr>
          <p:cNvSpPr/>
          <p:nvPr/>
        </p:nvSpPr>
        <p:spPr>
          <a:xfrm>
            <a:off x="10579395" y="0"/>
            <a:ext cx="1612605" cy="30893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" dirty="0">
                <a:latin typeface="Arial" panose="020B0604020202020204" pitchFamily="34" charset="0"/>
                <a:cs typeface="Arial" panose="020B0604020202020204" pitchFamily="34" charset="0"/>
              </a:rPr>
              <a:t>Gavi 6.0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B92A103-6B29-18BC-D214-B8538B073486}"/>
              </a:ext>
            </a:extLst>
          </p:cNvPr>
          <p:cNvSpPr/>
          <p:nvPr/>
        </p:nvSpPr>
        <p:spPr>
          <a:xfrm>
            <a:off x="1339702" y="2632370"/>
            <a:ext cx="3253563" cy="38572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forçar a definição de prioridades e otimizar os programas de vacinação, adequados ao seu contex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serve que essas doenças não são introduzidas e não são recomendadas para vacinas para prevenir doenças endêmicas, epidêmicas e pandêmicas, incluindo aquelas que causam doença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rantir mecanismos de resposta equitativos e oportunos a surtos, epidemias e pandemias</a:t>
            </a:r>
            <a:endParaRPr lang="pt-PT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43B04C4-835D-17BC-DA28-4C5299C1E76F}"/>
              </a:ext>
            </a:extLst>
          </p:cNvPr>
          <p:cNvSpPr/>
          <p:nvPr/>
        </p:nvSpPr>
        <p:spPr>
          <a:xfrm>
            <a:off x="4735278" y="2632370"/>
            <a:ext cx="3327992" cy="38572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" sz="13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mitam que os vossos países sejam alertados para a imunidade às doses zero e às comunicações não abreviadas, integradas nos nossos sistemas de cuidados de saúde primários, nomeadamente através da eliminação das barreiras relacionadas com o género e da criação de uma procura resistente</a:t>
            </a:r>
            <a:endParaRPr lang="pt-PT" sz="13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" sz="13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rantir que todas as crianças estejam totalmente imunes, mantendo e reforçando a imunidade das vacinações conforme necessário para uma segunda vida</a:t>
            </a:r>
            <a:endParaRPr lang="pt-PT" sz="13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" sz="13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oiar os países na adaptação dos sistemas para administrar rotineiramente vacinas a paisagem para a infância através de instruções específicas e primeiras ocorrências</a:t>
            </a:r>
            <a:endParaRPr lang="pt-PT" sz="13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EE0282F-8ACF-3F44-B699-E145229426E0}"/>
              </a:ext>
            </a:extLst>
          </p:cNvPr>
          <p:cNvSpPr/>
          <p:nvPr/>
        </p:nvSpPr>
        <p:spPr>
          <a:xfrm>
            <a:off x="8173387" y="2632370"/>
            <a:ext cx="3327992" cy="38572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" sz="13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forçar a protecção política e social regional, nacional e subnacional para a imunidade, nomeadamente para a imunidade, nomeadamente através do aumento dos apelos públicos naciona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3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" sz="13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rantir uma transição sustentável através do reforço da capacidade dos países elegíveis para manter o desempenho em matéria de imunizaçã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3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" sz="13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volver os nossos países autofinanciados para gerir e catalisar uma apresentação crítica de vacinas</a:t>
            </a:r>
            <a:endParaRPr lang="pt-PT" sz="13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5CD1912-9E47-A950-B0A3-0E4397D9707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21981" y="2646737"/>
            <a:ext cx="349268" cy="444523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95EEA9C2-F3DA-9978-D060-558033E0FB6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15630" y="3668152"/>
            <a:ext cx="361969" cy="463574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7112B0EF-805A-FC43-ACD3-DCB1C205FD9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18067" y="4825705"/>
            <a:ext cx="330217" cy="520727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72017313-49A2-4C56-4952-DBCDD91F99E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78326" y="2630164"/>
            <a:ext cx="361969" cy="495325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98D538AC-051D-B7A3-FCD2-6172E1AF7CF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78326" y="4131726"/>
            <a:ext cx="387370" cy="463574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BC1D1073-2C01-3943-A207-A3B451C4FA5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35278" y="5118695"/>
            <a:ext cx="368319" cy="514376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B3DD6C2E-5987-0130-2F1B-BD7293E927D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098956" y="2615610"/>
            <a:ext cx="368319" cy="48262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3115D30D-B74B-FA39-83AC-05B34743061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143408" y="3980190"/>
            <a:ext cx="323867" cy="463574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DE5E4496-7088-7550-6820-C7853CC0DD0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137701" y="5195589"/>
            <a:ext cx="368319" cy="463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684560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079D8A-9E81-34D1-0699-470BA28B87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think-cell data - do not delete" hidden="1">
            <a:extLst>
              <a:ext uri="{FF2B5EF4-FFF2-40B4-BE49-F238E27FC236}">
                <a16:creationId xmlns:a16="http://schemas.microsoft.com/office/drawing/2014/main" id="{C497E498-DF0F-0366-20ED-04403AA485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5" imgH="405" progId="TCLayout.ActiveDocument.1">
                  <p:embed/>
                </p:oleObj>
              </mc:Choice>
              <mc:Fallback>
                <p:oleObj name="think-cell Slide" r:id="rId4" imgW="405" imgH="405" progId="TCLayout.ActiveDocument.1">
                  <p:embed/>
                  <p:pic>
                    <p:nvPicPr>
                      <p:cNvPr id="4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497E498-DF0F-0366-20ED-04403AA485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B56FB1FA-2934-28BC-8071-08DA722A1F8F}"/>
              </a:ext>
            </a:extLst>
          </p:cNvPr>
          <p:cNvCxnSpPr>
            <a:cxnSpLocks/>
            <a:stCxn id="8" idx="2"/>
          </p:cNvCxnSpPr>
          <p:nvPr/>
        </p:nvCxnSpPr>
        <p:spPr>
          <a:xfrm>
            <a:off x="5862896" y="1587698"/>
            <a:ext cx="7138" cy="4485057"/>
          </a:xfrm>
          <a:prstGeom prst="line">
            <a:avLst/>
          </a:prstGeom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FC9AFD8C-1AD9-A576-32FB-C747339E2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142" y="295130"/>
            <a:ext cx="11603306" cy="745093"/>
          </a:xfrm>
        </p:spPr>
        <p:txBody>
          <a:bodyPr vert="horz">
            <a:noAutofit/>
          </a:bodyPr>
          <a:lstStyle/>
          <a:p>
            <a:r>
              <a:rPr lang="pt" sz="3200" dirty="0"/>
              <a:t>Consolidação do Gavi em Gavi 6.0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F2DAF7A-71F2-46A0-7F11-D1E73245CAA4}"/>
              </a:ext>
            </a:extLst>
          </p:cNvPr>
          <p:cNvSpPr txBox="1"/>
          <p:nvPr/>
        </p:nvSpPr>
        <p:spPr>
          <a:xfrm>
            <a:off x="242191" y="1104703"/>
            <a:ext cx="20119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Gavi 5.0</a:t>
            </a:r>
          </a:p>
        </p:txBody>
      </p:sp>
      <p:pic>
        <p:nvPicPr>
          <p:cNvPr id="8" name="Graphic 7" descr="Circle with left arrow with solid fill">
            <a:extLst>
              <a:ext uri="{FF2B5EF4-FFF2-40B4-BE49-F238E27FC236}">
                <a16:creationId xmlns:a16="http://schemas.microsoft.com/office/drawing/2014/main" id="{3EADDB2F-C602-F46A-4432-9FA2FFD12A2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flipH="1">
            <a:off x="5664867" y="1191640"/>
            <a:ext cx="396058" cy="396058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E33DD071-135B-A16D-E121-C11AEC449FED}"/>
              </a:ext>
            </a:extLst>
          </p:cNvPr>
          <p:cNvGrpSpPr/>
          <p:nvPr/>
        </p:nvGrpSpPr>
        <p:grpSpPr>
          <a:xfrm>
            <a:off x="169127" y="6223693"/>
            <a:ext cx="1377775" cy="319779"/>
            <a:chOff x="7401042" y="1173569"/>
            <a:chExt cx="836836" cy="261610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04D23395-0539-4557-0196-8A485AB77402}"/>
                </a:ext>
              </a:extLst>
            </p:cNvPr>
            <p:cNvSpPr/>
            <p:nvPr/>
          </p:nvSpPr>
          <p:spPr>
            <a:xfrm>
              <a:off x="7401042" y="1207855"/>
              <a:ext cx="193040" cy="193040"/>
            </a:xfrm>
            <a:prstGeom prst="rect">
              <a:avLst/>
            </a:prstGeom>
            <a:solidFill>
              <a:srgbClr val="BEDEFF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2C9956DF-DD68-30CF-ACDB-027F46BB155E}"/>
                </a:ext>
              </a:extLst>
            </p:cNvPr>
            <p:cNvSpPr txBox="1"/>
            <p:nvPr/>
          </p:nvSpPr>
          <p:spPr>
            <a:xfrm>
              <a:off x="7638034" y="1173569"/>
              <a:ext cx="599844" cy="26161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" sz="105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m espécies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C96768CB-00DD-CF08-28B7-098E6AA5F284}"/>
              </a:ext>
            </a:extLst>
          </p:cNvPr>
          <p:cNvGrpSpPr/>
          <p:nvPr/>
        </p:nvGrpSpPr>
        <p:grpSpPr>
          <a:xfrm>
            <a:off x="1424265" y="6256628"/>
            <a:ext cx="1895181" cy="286843"/>
            <a:chOff x="8537801" y="1168589"/>
            <a:chExt cx="1371974" cy="261610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D2568387-7C1E-8AA8-4655-4FF04405B001}"/>
                </a:ext>
              </a:extLst>
            </p:cNvPr>
            <p:cNvSpPr/>
            <p:nvPr/>
          </p:nvSpPr>
          <p:spPr>
            <a:xfrm>
              <a:off x="8537801" y="1205359"/>
              <a:ext cx="193040" cy="193040"/>
            </a:xfrm>
            <a:prstGeom prst="rect">
              <a:avLst/>
            </a:prstGeom>
            <a:solidFill>
              <a:srgbClr val="ABDEC5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532CBB64-5B63-EC23-8D00-3ABEA5315B40}"/>
                </a:ext>
              </a:extLst>
            </p:cNvPr>
            <p:cNvSpPr txBox="1"/>
            <p:nvPr/>
          </p:nvSpPr>
          <p:spPr>
            <a:xfrm>
              <a:off x="8774792" y="1168589"/>
              <a:ext cx="1134983" cy="26161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" sz="105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inheiro para o país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FAFBADE6-AB21-B308-90AD-B79CBC2F6DD0}"/>
              </a:ext>
            </a:extLst>
          </p:cNvPr>
          <p:cNvGrpSpPr/>
          <p:nvPr/>
        </p:nvGrpSpPr>
        <p:grpSpPr>
          <a:xfrm>
            <a:off x="3125350" y="6320751"/>
            <a:ext cx="2201313" cy="200745"/>
            <a:chOff x="9776153" y="5964089"/>
            <a:chExt cx="1439015" cy="261610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7EBF8FF3-E2BB-E4DF-2DAC-18EE7080221F}"/>
                </a:ext>
              </a:extLst>
            </p:cNvPr>
            <p:cNvSpPr/>
            <p:nvPr/>
          </p:nvSpPr>
          <p:spPr>
            <a:xfrm>
              <a:off x="9776153" y="5992419"/>
              <a:ext cx="172165" cy="233279"/>
            </a:xfrm>
            <a:prstGeom prst="rect">
              <a:avLst/>
            </a:prstGeom>
            <a:solidFill>
              <a:srgbClr val="F3B7B2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309F3F50-E05E-91A8-0EBD-20ABED90D36D}"/>
                </a:ext>
              </a:extLst>
            </p:cNvPr>
            <p:cNvSpPr txBox="1"/>
            <p:nvPr/>
          </p:nvSpPr>
          <p:spPr>
            <a:xfrm>
              <a:off x="9994379" y="5964089"/>
              <a:ext cx="1220789" cy="26161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" sz="10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inheiro </a:t>
              </a:r>
              <a:r>
                <a:rPr kumimoji="0" lang="pt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ara </a:t>
              </a:r>
              <a:r>
                <a:rPr kumimoji="0" lang="pt" sz="10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arceiros</a:t>
              </a:r>
              <a:endPara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F3201E68-9A62-B3E4-07EA-E9010841773D}"/>
              </a:ext>
            </a:extLst>
          </p:cNvPr>
          <p:cNvGrpSpPr/>
          <p:nvPr/>
        </p:nvGrpSpPr>
        <p:grpSpPr>
          <a:xfrm>
            <a:off x="269333" y="1710481"/>
            <a:ext cx="5271290" cy="4217918"/>
            <a:chOff x="515936" y="1688113"/>
            <a:chExt cx="5743563" cy="4217918"/>
          </a:xfrm>
          <a:effectLst/>
        </p:grpSpPr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5C4DC0D5-1CE6-BF4B-7B85-2E254C9C259F}"/>
                </a:ext>
              </a:extLst>
            </p:cNvPr>
            <p:cNvSpPr/>
            <p:nvPr/>
          </p:nvSpPr>
          <p:spPr>
            <a:xfrm>
              <a:off x="515937" y="1688113"/>
              <a:ext cx="5741522" cy="492483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5CB9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quisição </a:t>
              </a:r>
              <a:r>
                <a:rPr kumimoji="0" lang="pt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005CB9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e </a:t>
              </a:r>
              <a:r>
                <a:rPr kumimoji="0" lang="pt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5CB9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vacinas </a:t>
              </a:r>
              <a:r>
                <a:rPr kumimoji="0" lang="pt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005CB9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ara </a:t>
              </a:r>
              <a:r>
                <a:rPr kumimoji="0" lang="pt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5CB9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rotina </a:t>
              </a:r>
              <a:r>
                <a:rPr kumimoji="0" lang="pt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005CB9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 </a:t>
              </a:r>
              <a:r>
                <a:rPr kumimoji="0" lang="pt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5CB9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ampanhas </a:t>
              </a:r>
              <a:r>
                <a:rPr kumimoji="0" lang="pt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005CB9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/ </a:t>
              </a:r>
              <a:r>
                <a:rPr kumimoji="0" lang="pt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5CB9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financiamento</a:t>
              </a:r>
              <a:endPara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5CB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2A35070C-4825-8334-2933-968B88B87949}"/>
                </a:ext>
              </a:extLst>
            </p:cNvPr>
            <p:cNvSpPr/>
            <p:nvPr/>
          </p:nvSpPr>
          <p:spPr>
            <a:xfrm>
              <a:off x="515936" y="2872054"/>
              <a:ext cx="1557817" cy="915616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ubsídios </a:t>
              </a:r>
              <a:r>
                <a:rPr kumimoji="0" lang="pt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ara </a:t>
              </a:r>
              <a:r>
                <a:rPr kumimoji="0" lang="pt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introdução </a:t>
              </a:r>
              <a:r>
                <a:rPr kumimoji="0" lang="pt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e </a:t>
              </a:r>
              <a:r>
                <a:rPr kumimoji="0" lang="pt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vacinas </a:t>
              </a:r>
              <a:r>
                <a:rPr kumimoji="0" lang="pt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(VIG)</a:t>
              </a:r>
              <a:endPara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3E9B6E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3087DF5E-E6F5-535C-3E5A-0DDF5F18AD1E}"/>
                </a:ext>
              </a:extLst>
            </p:cNvPr>
            <p:cNvSpPr/>
            <p:nvPr/>
          </p:nvSpPr>
          <p:spPr>
            <a:xfrm>
              <a:off x="2166039" y="2872054"/>
              <a:ext cx="1557816" cy="915616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poio</a:t>
              </a:r>
              <a:r>
                <a:rPr kumimoji="0" lang="pt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pt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peracional</a:t>
              </a:r>
              <a:r>
                <a:rPr kumimoji="0" lang="pt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pt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ara</a:t>
              </a:r>
              <a:r>
                <a:rPr kumimoji="0" lang="pt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pt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ampanhas </a:t>
              </a:r>
              <a:r>
                <a:rPr kumimoji="0" lang="pt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(ops)</a:t>
              </a:r>
              <a:endPara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3E9B6E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1D590A25-BAAA-ECB2-CFFB-8B83918E812E}"/>
                </a:ext>
              </a:extLst>
            </p:cNvPr>
            <p:cNvSpPr/>
            <p:nvPr/>
          </p:nvSpPr>
          <p:spPr>
            <a:xfrm>
              <a:off x="515937" y="3875354"/>
              <a:ext cx="1548952" cy="700507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or favor, </a:t>
              </a:r>
              <a:r>
                <a:rPr lang="pt" sz="1300" b="1" dirty="0" err="1">
                  <a:solidFill>
                    <a:srgbClr val="3E9B6E">
                      <a:lumMod val="75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enha </a:t>
              </a:r>
              <a:r>
                <a:rPr kumimoji="0" lang="pt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ara </a:t>
              </a:r>
              <a:r>
                <a:rPr kumimoji="0" lang="pt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 </a:t>
              </a:r>
              <a:endPara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3E9B6E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A9E96C5D-E970-70E7-DFE4-8D10CFB2C16A}"/>
                </a:ext>
              </a:extLst>
            </p:cNvPr>
            <p:cNvSpPr/>
            <p:nvPr/>
          </p:nvSpPr>
          <p:spPr>
            <a:xfrm>
              <a:off x="515937" y="4692382"/>
              <a:ext cx="3672409" cy="565796"/>
            </a:xfrm>
            <a:prstGeom prst="roundRect">
              <a:avLst/>
            </a:prstGeom>
            <a:solidFill>
              <a:srgbClr val="FED14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" sz="1300" b="1" i="0" u="none" strike="noStrike" kern="1200" cap="none" spc="0" normalizeH="0" baseline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Quadro de compromisso dos parceiros (PEF) Assistência específica ao país</a:t>
              </a:r>
            </a:p>
          </p:txBody>
        </p: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F51267BF-F48A-4CD7-8274-77BF9FCA245C}"/>
                </a:ext>
              </a:extLst>
            </p:cNvPr>
            <p:cNvSpPr/>
            <p:nvPr/>
          </p:nvSpPr>
          <p:spPr>
            <a:xfrm>
              <a:off x="4665023" y="3875894"/>
              <a:ext cx="1592436" cy="699967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" sz="1300" b="1" i="0" u="none" strike="noStrike" kern="1200" cap="none" spc="0" normalizeH="0" baseline="0" noProof="0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Inovação complementar</a:t>
              </a:r>
              <a:endPara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3E9B6E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A90A74F6-E565-0219-A021-7765A93C791A}"/>
                </a:ext>
              </a:extLst>
            </p:cNvPr>
            <p:cNvSpPr/>
            <p:nvPr/>
          </p:nvSpPr>
          <p:spPr>
            <a:xfrm>
              <a:off x="515936" y="2265298"/>
              <a:ext cx="4286973" cy="521301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lataforma </a:t>
              </a:r>
              <a:r>
                <a:rPr kumimoji="0" lang="pt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e otimização</a:t>
              </a:r>
              <a:r>
                <a:rPr kumimoji="0" lang="pt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Equipamento </a:t>
              </a:r>
              <a:r>
                <a:rPr kumimoji="0" lang="pt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Frio </a:t>
              </a:r>
              <a:r>
                <a:rPr kumimoji="0" lang="pt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adete ( </a:t>
              </a:r>
              <a:endPara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3E9B6E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7BD01771-3097-0E05-1DE4-CD540E8111D0}"/>
                </a:ext>
              </a:extLst>
            </p:cNvPr>
            <p:cNvSpPr/>
            <p:nvPr/>
          </p:nvSpPr>
          <p:spPr>
            <a:xfrm>
              <a:off x="3806165" y="2872054"/>
              <a:ext cx="2451294" cy="915616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Melhoria </a:t>
              </a:r>
              <a:r>
                <a:rPr kumimoji="0" lang="pt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o Sistema </a:t>
              </a:r>
              <a:r>
                <a:rPr kumimoji="0" lang="pt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e Saúde ( </a:t>
              </a:r>
              <a:r>
                <a:rPr kumimoji="0" lang="pt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RSS )</a:t>
              </a:r>
              <a:endPara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3E9B6E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F800AB12-0B64-69D2-7931-512ED7DBD389}"/>
                </a:ext>
              </a:extLst>
            </p:cNvPr>
            <p:cNvSpPr/>
            <p:nvPr/>
          </p:nvSpPr>
          <p:spPr>
            <a:xfrm>
              <a:off x="2173817" y="3875354"/>
              <a:ext cx="2443516" cy="700507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Financiar</a:t>
              </a:r>
              <a:r>
                <a:rPr kumimoji="0" lang="pt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pt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celerador </a:t>
              </a:r>
              <a:r>
                <a:rPr kumimoji="0" lang="pt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e dose zero </a:t>
              </a:r>
              <a:r>
                <a:rPr lang="pt" sz="1300" b="1" dirty="0">
                  <a:solidFill>
                    <a:srgbClr val="3E9B6E">
                      <a:lumMod val="75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 </a:t>
              </a:r>
              <a:r>
                <a:rPr kumimoji="0" lang="pt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9B6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AF)</a:t>
              </a:r>
              <a:endPara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3E9B6E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2" name="Rectangle: Rounded Corners 41">
              <a:extLst>
                <a:ext uri="{FF2B5EF4-FFF2-40B4-BE49-F238E27FC236}">
                  <a16:creationId xmlns:a16="http://schemas.microsoft.com/office/drawing/2014/main" id="{DA490E94-4579-7751-F446-85AEEA16F2A5}"/>
                </a:ext>
              </a:extLst>
            </p:cNvPr>
            <p:cNvSpPr/>
            <p:nvPr/>
          </p:nvSpPr>
          <p:spPr>
            <a:xfrm>
              <a:off x="4892366" y="2265298"/>
              <a:ext cx="1367133" cy="521301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5CB9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iagnóstico</a:t>
              </a:r>
              <a:endPara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5CB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1DF1A496-187A-75F8-22DB-CBF43DD21FCF}"/>
                </a:ext>
              </a:extLst>
            </p:cNvPr>
            <p:cNvSpPr/>
            <p:nvPr/>
          </p:nvSpPr>
          <p:spPr>
            <a:xfrm>
              <a:off x="4321654" y="4692382"/>
              <a:ext cx="1935803" cy="565796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E24A3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poio </a:t>
              </a:r>
              <a:r>
                <a:rPr kumimoji="0" lang="pt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E24A3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fundamental (PEF FS)</a:t>
              </a:r>
              <a:endPara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E24A3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4" name="Rectangle: Rounded Corners 43">
              <a:extLst>
                <a:ext uri="{FF2B5EF4-FFF2-40B4-BE49-F238E27FC236}">
                  <a16:creationId xmlns:a16="http://schemas.microsoft.com/office/drawing/2014/main" id="{C85F23C3-A133-2D1E-A9A0-D7AC4EB4836A}"/>
                </a:ext>
              </a:extLst>
            </p:cNvPr>
            <p:cNvSpPr/>
            <p:nvPr/>
          </p:nvSpPr>
          <p:spPr>
            <a:xfrm>
              <a:off x="515936" y="5403544"/>
              <a:ext cx="2281133" cy="497309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E24A3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Áreas </a:t>
              </a:r>
              <a:r>
                <a:rPr kumimoji="0" lang="pt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E24A3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e concentração </a:t>
              </a:r>
              <a:r>
                <a:rPr kumimoji="0" lang="pt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E24A3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stratégia </a:t>
              </a:r>
              <a:r>
                <a:rPr kumimoji="0" lang="pt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E24A3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o PFE</a:t>
              </a:r>
              <a:endPara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E24A3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5" name="Rectangle: Rounded Corners 44">
              <a:extLst>
                <a:ext uri="{FF2B5EF4-FFF2-40B4-BE49-F238E27FC236}">
                  <a16:creationId xmlns:a16="http://schemas.microsoft.com/office/drawing/2014/main" id="{C623650C-F475-E60D-6BE4-428766AD692C}"/>
                </a:ext>
              </a:extLst>
            </p:cNvPr>
            <p:cNvSpPr/>
            <p:nvPr/>
          </p:nvSpPr>
          <p:spPr>
            <a:xfrm>
              <a:off x="4999530" y="5408723"/>
              <a:ext cx="1257927" cy="49730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" sz="1300" b="1" i="1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+ </a:t>
              </a:r>
              <a:r>
                <a:rPr kumimoji="0" lang="pt" sz="1300" b="1" i="1" u="none" strike="noStrike" kern="1200" cap="none" spc="0" normalizeH="0" baseline="0" noProof="0" dirty="0" err="1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utras </a:t>
              </a:r>
              <a:r>
                <a:rPr kumimoji="0" lang="pt" sz="1300" b="1" i="1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lavancas </a:t>
              </a:r>
              <a:r>
                <a:rPr kumimoji="0" lang="pt" sz="1300" b="1" i="1" u="none" strike="noStrike" kern="1200" cap="none" spc="0" normalizeH="0" baseline="30000" noProof="0" dirty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1</a:t>
              </a:r>
              <a:endParaRPr kumimoji="0" lang="en-US" sz="1300" b="0" i="1" u="none" strike="noStrike" kern="1200" cap="none" spc="0" normalizeH="0" baseline="3000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3" name="Rectangle: Rounded Corners 52">
              <a:extLst>
                <a:ext uri="{FF2B5EF4-FFF2-40B4-BE49-F238E27FC236}">
                  <a16:creationId xmlns:a16="http://schemas.microsoft.com/office/drawing/2014/main" id="{F3677A0E-99BE-060F-4D0D-84F4521AB42D}"/>
                </a:ext>
              </a:extLst>
            </p:cNvPr>
            <p:cNvSpPr/>
            <p:nvPr/>
          </p:nvSpPr>
          <p:spPr>
            <a:xfrm>
              <a:off x="2904232" y="5403544"/>
              <a:ext cx="1988134" cy="497309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E24A3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Gerenciamento</a:t>
              </a:r>
              <a:r>
                <a:rPr kumimoji="0" lang="pt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E24A3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pt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E24A3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financiamento </a:t>
              </a:r>
              <a:r>
                <a:rPr kumimoji="0" lang="pt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E24A3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 </a:t>
              </a:r>
              <a:r>
                <a:rPr kumimoji="0" lang="pt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E24A3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garantia </a:t>
              </a:r>
              <a:r>
                <a:rPr kumimoji="0" lang="pt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E24A3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e risco</a:t>
              </a:r>
              <a:endPara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E24A3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72" name="TextBox 71">
            <a:extLst>
              <a:ext uri="{FF2B5EF4-FFF2-40B4-BE49-F238E27FC236}">
                <a16:creationId xmlns:a16="http://schemas.microsoft.com/office/drawing/2014/main" id="{5F00B8ED-715B-9E06-D087-9DE2437E26D3}"/>
              </a:ext>
            </a:extLst>
          </p:cNvPr>
          <p:cNvSpPr txBox="1"/>
          <p:nvPr/>
        </p:nvSpPr>
        <p:spPr>
          <a:xfrm>
            <a:off x="6096000" y="6367501"/>
            <a:ext cx="44658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: </a:t>
            </a:r>
            <a:r>
              <a:rPr kumimoji="0" lang="pt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utros</a:t>
            </a:r>
            <a:r>
              <a:rPr kumimoji="0" lang="pt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pt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vanços </a:t>
            </a:r>
            <a:r>
              <a:rPr kumimoji="0" lang="pt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inanceiros </a:t>
            </a:r>
            <a:r>
              <a:rPr kumimoji="0" lang="pt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cluir </a:t>
            </a:r>
            <a:r>
              <a:rPr kumimoji="0" lang="pt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r>
              <a:rPr kumimoji="0" lang="pt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r</a:t>
            </a:r>
            <a:r>
              <a:rPr kumimoji="0" lang="pt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pt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xemplo </a:t>
            </a:r>
            <a:r>
              <a:rPr kumimoji="0" lang="pt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o </a:t>
            </a:r>
            <a:r>
              <a:rPr kumimoji="0" lang="pt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oio</a:t>
            </a:r>
            <a:r>
              <a:rPr kumimoji="0" lang="pt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pt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os</a:t>
            </a:r>
            <a:r>
              <a:rPr kumimoji="0" lang="pt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pt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dições </a:t>
            </a:r>
            <a:r>
              <a:rPr kumimoji="0" lang="pt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 pagamento </a:t>
            </a:r>
            <a:r>
              <a:rPr kumimoji="0" lang="pt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eio </a:t>
            </a:r>
            <a:r>
              <a:rPr kumimoji="0" lang="pt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que </a:t>
            </a:r>
            <a:r>
              <a:rPr kumimoji="0" lang="pt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guarda</a:t>
            </a:r>
            <a:r>
              <a:rPr kumimoji="0" lang="pt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pt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rovação </a:t>
            </a:r>
            <a:r>
              <a:rPr kumimoji="0" lang="pt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o Conselho </a:t>
            </a:r>
            <a:r>
              <a:rPr kumimoji="0" lang="pt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 Administração ) </a:t>
            </a:r>
            <a:r>
              <a:rPr kumimoji="0" lang="pt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que </a:t>
            </a:r>
            <a:r>
              <a:rPr kumimoji="0" lang="pt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clui</a:t>
            </a:r>
            <a:r>
              <a:rPr kumimoji="0" lang="pt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pt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iferente</a:t>
            </a:r>
            <a:r>
              <a:rPr kumimoji="0" lang="pt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pt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ipos </a:t>
            </a:r>
            <a:r>
              <a:rPr kumimoji="0" lang="pt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 </a:t>
            </a:r>
            <a:r>
              <a:rPr kumimoji="0" lang="pt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oio </a:t>
            </a:r>
            <a:r>
              <a:rPr kumimoji="0" lang="pt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 </a:t>
            </a:r>
            <a:r>
              <a:rPr kumimoji="0" lang="pt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r</a:t>
            </a:r>
            <a:r>
              <a:rPr kumimoji="0" lang="pt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pt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xemplo </a:t>
            </a:r>
            <a:r>
              <a:rPr kumimoji="0" lang="pt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r>
              <a:rPr kumimoji="0" lang="pt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inheiro </a:t>
            </a:r>
            <a:r>
              <a:rPr kumimoji="0" lang="pt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r>
              <a:rPr kumimoji="0" lang="pt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acinas </a:t>
            </a:r>
            <a:r>
              <a:rPr kumimoji="0" lang="pt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etc.)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1BAE049-8BFB-E0B0-2648-7AA50508963E}"/>
              </a:ext>
            </a:extLst>
          </p:cNvPr>
          <p:cNvSpPr/>
          <p:nvPr/>
        </p:nvSpPr>
        <p:spPr>
          <a:xfrm>
            <a:off x="196798" y="5328567"/>
            <a:ext cx="5500329" cy="651806"/>
          </a:xfrm>
          <a:prstGeom prst="rect">
            <a:avLst/>
          </a:prstGeom>
          <a:solidFill>
            <a:schemeClr val="bg1">
              <a:alpha val="68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5EE5360-6FF5-9D7A-492D-32B2A4EF250D}"/>
              </a:ext>
            </a:extLst>
          </p:cNvPr>
          <p:cNvSpPr/>
          <p:nvPr/>
        </p:nvSpPr>
        <p:spPr>
          <a:xfrm>
            <a:off x="3730767" y="4620156"/>
            <a:ext cx="2031827" cy="712024"/>
          </a:xfrm>
          <a:prstGeom prst="rect">
            <a:avLst/>
          </a:prstGeom>
          <a:solidFill>
            <a:schemeClr val="bg1">
              <a:alpha val="68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46F8634-E02B-0A05-0F75-E0C1BC4BAC4D}"/>
              </a:ext>
            </a:extLst>
          </p:cNvPr>
          <p:cNvSpPr/>
          <p:nvPr/>
        </p:nvSpPr>
        <p:spPr>
          <a:xfrm>
            <a:off x="6068063" y="2889981"/>
            <a:ext cx="5914377" cy="2048110"/>
          </a:xfrm>
          <a:prstGeom prst="roundRect">
            <a:avLst>
              <a:gd name="adj" fmla="val 9366"/>
            </a:avLst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" sz="2400" b="1" i="0" u="none" strike="noStrike" kern="1200" cap="none" spc="0" normalizeH="0" baseline="0" dirty="0">
                <a:ln>
                  <a:noFill/>
                </a:ln>
                <a:solidFill>
                  <a:srgbClr val="3E9B6E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velope de apoio monetário aos país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" sz="2000" b="0" i="0" u="none" strike="noStrike" kern="1200" cap="none" spc="0" normalizeH="0" baseline="0" dirty="0">
                <a:ln>
                  <a:noFill/>
                </a:ln>
                <a:solidFill>
                  <a:srgbClr val="3E9B6E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solidar mais de 7 planilhas de financiamento em um único envelope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0DE66422-5B90-1F97-A9D6-D2501143C160}"/>
              </a:ext>
            </a:extLst>
          </p:cNvPr>
          <p:cNvSpPr/>
          <p:nvPr/>
        </p:nvSpPr>
        <p:spPr>
          <a:xfrm>
            <a:off x="6068063" y="5092995"/>
            <a:ext cx="5854604" cy="947321"/>
          </a:xfrm>
          <a:prstGeom prst="roundRect">
            <a:avLst>
              <a:gd name="adj" fmla="val 9366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ecanismo </a:t>
            </a:r>
            <a:r>
              <a:rPr kumimoji="0" lang="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 financiamento emergencial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inanciar</a:t>
            </a:r>
            <a:r>
              <a:rPr kumimoji="0" lang="pt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p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specífico </a:t>
            </a:r>
            <a:r>
              <a:rPr kumimoji="0" lang="pt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ara </a:t>
            </a:r>
            <a:r>
              <a:rPr kumimoji="0" lang="p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mergência </a:t>
            </a:r>
            <a:r>
              <a:rPr kumimoji="0" lang="pt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 </a:t>
            </a:r>
            <a:r>
              <a:rPr kumimoji="0" lang="p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pulação</a:t>
            </a:r>
            <a:r>
              <a:rPr kumimoji="0" lang="pt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p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slocadas </a:t>
            </a:r>
            <a:r>
              <a:rPr kumimoji="0" lang="pt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; </a:t>
            </a:r>
            <a:r>
              <a:rPr kumimoji="0" lang="p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inanciamento </a:t>
            </a:r>
            <a:r>
              <a:rPr kumimoji="0" lang="pt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 surtos ; e de </a:t>
            </a:r>
            <a:r>
              <a:rPr kumimoji="0" lang="p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udança</a:t>
            </a:r>
            <a:r>
              <a:rPr kumimoji="0" lang="pt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vacina </a:t>
            </a:r>
            <a:r>
              <a:rPr kumimoji="0" lang="p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rgente</a:t>
            </a:r>
            <a:r>
              <a:rPr kumimoji="0" lang="pt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p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 vídeo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F04F683-3CE6-E8A4-4E38-017B12B72076}"/>
              </a:ext>
            </a:extLst>
          </p:cNvPr>
          <p:cNvGrpSpPr/>
          <p:nvPr/>
        </p:nvGrpSpPr>
        <p:grpSpPr>
          <a:xfrm>
            <a:off x="196798" y="6550445"/>
            <a:ext cx="5572865" cy="369332"/>
            <a:chOff x="10134038" y="1285636"/>
            <a:chExt cx="3426981" cy="415498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30C0351-54AD-13DB-15DC-A94F6C5F7E7F}"/>
                </a:ext>
              </a:extLst>
            </p:cNvPr>
            <p:cNvSpPr/>
            <p:nvPr/>
          </p:nvSpPr>
          <p:spPr>
            <a:xfrm>
              <a:off x="10134038" y="1383094"/>
              <a:ext cx="193040" cy="193040"/>
            </a:xfrm>
            <a:prstGeom prst="rect">
              <a:avLst/>
            </a:prstGeom>
            <a:solidFill>
              <a:schemeClr val="accent6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F31929E-7513-2575-6BAA-FF5EDA916E0B}"/>
                </a:ext>
              </a:extLst>
            </p:cNvPr>
            <p:cNvSpPr txBox="1"/>
            <p:nvPr/>
          </p:nvSpPr>
          <p:spPr>
            <a:xfrm>
              <a:off x="10388267" y="1285636"/>
              <a:ext cx="3172752" cy="41549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" sz="10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lavanca</a:t>
              </a:r>
              <a:r>
                <a:rPr kumimoji="0" lang="pt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pt" sz="10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ceno</a:t>
              </a:r>
              <a:r>
                <a:rPr kumimoji="0" lang="pt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pt" sz="10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isso deve </a:t>
              </a:r>
              <a:r>
                <a:rPr kumimoji="0" lang="pt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er </a:t>
              </a:r>
              <a:r>
                <a:rPr kumimoji="0" lang="pt" sz="10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siderado</a:t>
              </a:r>
              <a:r>
                <a:rPr kumimoji="0" lang="pt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pt" sz="10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perações </a:t>
              </a:r>
              <a:r>
                <a:rPr kumimoji="0" lang="pt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ara </a:t>
              </a:r>
              <a:r>
                <a:rPr kumimoji="0" lang="pt" sz="10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solidar</a:t>
              </a:r>
              <a:r>
                <a:rPr kumimoji="0" lang="pt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pt" sz="10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u</a:t>
              </a:r>
              <a:r>
                <a:rPr kumimoji="0" lang="pt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pt" sz="10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não</a:t>
              </a:r>
              <a:endPara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7" name="Slide Number Placeholder 3">
            <a:extLst>
              <a:ext uri="{FF2B5EF4-FFF2-40B4-BE49-F238E27FC236}">
                <a16:creationId xmlns:a16="http://schemas.microsoft.com/office/drawing/2014/main" id="{FC9D9AB9-300B-3329-EAB6-1938E6A797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746B08-255A-2748-8A21-40BE94A17FD1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068C1250-FC92-1637-3101-75081BA7128F}"/>
              </a:ext>
            </a:extLst>
          </p:cNvPr>
          <p:cNvSpPr txBox="1"/>
          <p:nvPr/>
        </p:nvSpPr>
        <p:spPr>
          <a:xfrm>
            <a:off x="6068063" y="1077843"/>
            <a:ext cx="250735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Gavi 6.0</a:t>
            </a:r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6858E69D-3B48-70EA-91CB-C4678E4AE48F}"/>
              </a:ext>
            </a:extLst>
          </p:cNvPr>
          <p:cNvSpPr/>
          <p:nvPr/>
        </p:nvSpPr>
        <p:spPr>
          <a:xfrm>
            <a:off x="6068063" y="1755967"/>
            <a:ext cx="4277412" cy="97911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" sz="2400" b="1" dirty="0">
                <a:solidFill>
                  <a:srgbClr val="005CB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quisição de vacinas </a:t>
            </a:r>
            <a:r>
              <a:rPr lang="pt" sz="1600" b="1" dirty="0">
                <a:solidFill>
                  <a:srgbClr val="005CB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a rotina e campanhas com </a:t>
            </a:r>
            <a:r>
              <a:rPr lang="pt" sz="1600" b="1" dirty="0" err="1">
                <a:solidFill>
                  <a:srgbClr val="005CB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financiamento</a:t>
            </a:r>
            <a:endParaRPr kumimoji="0" lang="pt-PT" sz="1600" b="0" i="0" u="none" strike="noStrike" kern="1200" cap="none" spc="0" normalizeH="0" baseline="0" dirty="0">
              <a:ln>
                <a:noFill/>
              </a:ln>
              <a:solidFill>
                <a:srgbClr val="005CB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E2A3D381-0496-596C-195A-8E31AC266D75}"/>
              </a:ext>
            </a:extLst>
          </p:cNvPr>
          <p:cNvSpPr/>
          <p:nvPr/>
        </p:nvSpPr>
        <p:spPr>
          <a:xfrm>
            <a:off x="10483701" y="1745176"/>
            <a:ext cx="1382233" cy="97911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" sz="1300" b="1" i="0" u="none" strike="noStrike" kern="1200" cap="none" spc="0" normalizeH="0" baseline="0">
                <a:ln>
                  <a:noFill/>
                </a:ln>
                <a:solidFill>
                  <a:srgbClr val="005CB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iagnóstico</a:t>
            </a:r>
            <a:endParaRPr kumimoji="0" lang="pt-PT" sz="1300" b="0" i="0" u="none" strike="noStrike" kern="1200" cap="none" spc="0" normalizeH="0" baseline="0">
              <a:ln>
                <a:noFill/>
              </a:ln>
              <a:solidFill>
                <a:srgbClr val="005CB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6" name="Graphic 15" descr="Badge Follow with solid fill">
            <a:extLst>
              <a:ext uri="{FF2B5EF4-FFF2-40B4-BE49-F238E27FC236}">
                <a16:creationId xmlns:a16="http://schemas.microsoft.com/office/drawing/2014/main" id="{5AEA1B7F-5DE6-1DD6-740F-2A163E3341B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644402" y="2553875"/>
            <a:ext cx="517308" cy="517308"/>
          </a:xfrm>
          <a:prstGeom prst="rect">
            <a:avLst/>
          </a:prstGeom>
        </p:spPr>
      </p:pic>
      <p:pic>
        <p:nvPicPr>
          <p:cNvPr id="51" name="Graphic 50" descr="Badge Follow with solid fill">
            <a:extLst>
              <a:ext uri="{FF2B5EF4-FFF2-40B4-BE49-F238E27FC236}">
                <a16:creationId xmlns:a16="http://schemas.microsoft.com/office/drawing/2014/main" id="{164C6F2C-085F-5728-97FD-9CE8618AC4E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613863" y="4653606"/>
            <a:ext cx="517308" cy="517308"/>
          </a:xfrm>
          <a:prstGeom prst="rect">
            <a:avLst/>
          </a:prstGeom>
        </p:spPr>
      </p:pic>
      <p:sp>
        <p:nvSpPr>
          <p:cNvPr id="54" name="Rectangle 53">
            <a:extLst>
              <a:ext uri="{FF2B5EF4-FFF2-40B4-BE49-F238E27FC236}">
                <a16:creationId xmlns:a16="http://schemas.microsoft.com/office/drawing/2014/main" id="{A5BCEBD9-A25B-A265-7BAB-6DB1B21F35F9}"/>
              </a:ext>
            </a:extLst>
          </p:cNvPr>
          <p:cNvSpPr/>
          <p:nvPr/>
        </p:nvSpPr>
        <p:spPr>
          <a:xfrm>
            <a:off x="10579395" y="0"/>
            <a:ext cx="1612605" cy="30893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" dirty="0">
                <a:latin typeface="Arial" panose="020B0604020202020204" pitchFamily="34" charset="0"/>
                <a:cs typeface="Arial" panose="020B0604020202020204" pitchFamily="34" charset="0"/>
              </a:rPr>
              <a:t>Gavi 6.0</a:t>
            </a:r>
          </a:p>
        </p:txBody>
      </p:sp>
    </p:spTree>
    <p:extLst>
      <p:ext uri="{BB962C8B-B14F-4D97-AF65-F5344CB8AC3E}">
        <p14:creationId xmlns:p14="http://schemas.microsoft.com/office/powerpoint/2010/main" val="316003102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al 7">
            <a:extLst>
              <a:ext uri="{FF2B5EF4-FFF2-40B4-BE49-F238E27FC236}">
                <a16:creationId xmlns:a16="http://schemas.microsoft.com/office/drawing/2014/main" id="{EA5C18BD-0AB5-215C-B0EF-14DFECCC8F65}"/>
              </a:ext>
            </a:extLst>
          </p:cNvPr>
          <p:cNvSpPr/>
          <p:nvPr/>
        </p:nvSpPr>
        <p:spPr>
          <a:xfrm>
            <a:off x="6731720" y="1528207"/>
            <a:ext cx="4879042" cy="4729378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58D32BF-4872-6054-E1FA-C87EC34884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837648"/>
          </a:xfrm>
        </p:spPr>
        <p:txBody>
          <a:bodyPr>
            <a:normAutofit fontScale="90000"/>
          </a:bodyPr>
          <a:lstStyle/>
          <a:p>
            <a:r>
              <a:rPr lang="pt" dirty="0"/>
              <a:t>Implementação do programa piloto de abordagem central à Estratégia Nacional de Vacinação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E0B2332-FDAA-4EAE-04DC-E0149AF8FE9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17608" y="1949767"/>
            <a:ext cx="2637752" cy="3765390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CF1A3A7-F007-44FC-9141-04B756143520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21719" y="1528207"/>
            <a:ext cx="5448136" cy="4608511"/>
          </a:xfrm>
        </p:spPr>
        <p:txBody>
          <a:bodyPr>
            <a:normAutofit lnSpcReduction="1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t" dirty="0" err="1"/>
              <a:t>fé </a:t>
            </a:r>
            <a:r>
              <a:rPr lang="pt" dirty="0"/>
              <a:t>ENV </a:t>
            </a:r>
            <a:r>
              <a:rPr lang="pt" dirty="0" err="1"/>
              <a:t>descentralizado </a:t>
            </a:r>
            <a:r>
              <a:rPr lang="pt" dirty="0"/>
              <a:t>e </a:t>
            </a:r>
            <a:r>
              <a:rPr lang="pt" dirty="0" err="1"/>
              <a:t>validado</a:t>
            </a:r>
            <a:r>
              <a:rPr lang="pt" dirty="0"/>
              <a:t> </a:t>
            </a:r>
            <a:r>
              <a:rPr lang="pt" dirty="0" err="1"/>
              <a:t>eles</a:t>
            </a:r>
            <a:r>
              <a:rPr lang="pt" dirty="0"/>
              <a:t> </a:t>
            </a:r>
            <a:r>
              <a:rPr lang="pt" dirty="0" err="1"/>
              <a:t>meados </a:t>
            </a:r>
            <a:r>
              <a:rPr lang="pt" dirty="0"/>
              <a:t>de 2024 para o </a:t>
            </a:r>
            <a:r>
              <a:rPr lang="pt" dirty="0" err="1"/>
              <a:t>período</a:t>
            </a:r>
            <a:r>
              <a:rPr lang="pt" dirty="0"/>
              <a:t> </a:t>
            </a:r>
            <a:r>
              <a:rPr lang="pt" b="1" dirty="0"/>
              <a:t>2024-2028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" dirty="0"/>
              <a:t>Na </a:t>
            </a:r>
            <a:r>
              <a:rPr lang="pt" dirty="0" err="1"/>
              <a:t>Guiné </a:t>
            </a:r>
            <a:r>
              <a:rPr lang="pt" dirty="0"/>
              <a:t>-Bissau </a:t>
            </a:r>
            <a:r>
              <a:rPr lang="pt" dirty="0" err="1"/>
              <a:t>fará</a:t>
            </a:r>
            <a:r>
              <a:rPr lang="pt" dirty="0"/>
              <a:t> </a:t>
            </a:r>
            <a:r>
              <a:rPr lang="pt" dirty="0" err="1"/>
              <a:t>parte </a:t>
            </a:r>
            <a:r>
              <a:rPr lang="pt" dirty="0"/>
              <a:t>de um </a:t>
            </a:r>
            <a:r>
              <a:rPr lang="pt" b="1" dirty="0" err="1"/>
              <a:t>programa</a:t>
            </a:r>
            <a:r>
              <a:rPr lang="pt" b="1" dirty="0"/>
              <a:t> </a:t>
            </a:r>
            <a:r>
              <a:rPr lang="pt" b="1" dirty="0" err="1"/>
              <a:t>piloto</a:t>
            </a:r>
            <a:r>
              <a:rPr lang="pt" b="1" dirty="0"/>
              <a:t> </a:t>
            </a:r>
            <a:r>
              <a:rPr lang="pt" dirty="0" err="1"/>
              <a:t>em </a:t>
            </a:r>
            <a:r>
              <a:rPr lang="pt" dirty="0"/>
              <a:t>que a </a:t>
            </a:r>
            <a:r>
              <a:rPr lang="pt" dirty="0" err="1"/>
              <a:t>candidata</a:t>
            </a:r>
            <a:r>
              <a:rPr lang="pt" dirty="0"/>
              <a:t> </a:t>
            </a:r>
            <a:r>
              <a:rPr lang="pt" dirty="0" err="1"/>
              <a:t>vai ser</a:t>
            </a:r>
            <a:r>
              <a:rPr lang="pt" dirty="0"/>
              <a:t> </a:t>
            </a:r>
            <a:r>
              <a:rPr lang="pt" dirty="0" err="1"/>
              <a:t>central</a:t>
            </a:r>
            <a:r>
              <a:rPr lang="pt" dirty="0"/>
              <a:t> </a:t>
            </a:r>
            <a:r>
              <a:rPr lang="pt" dirty="0" err="1"/>
              <a:t>na </a:t>
            </a:r>
            <a:r>
              <a:rPr lang="pt" dirty="0"/>
              <a:t>ENV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" dirty="0"/>
              <a:t>Na </a:t>
            </a:r>
            <a:r>
              <a:rPr lang="pt" dirty="0" err="1"/>
              <a:t>Guiné </a:t>
            </a:r>
            <a:r>
              <a:rPr lang="pt" dirty="0"/>
              <a:t>-Bissau </a:t>
            </a:r>
            <a:r>
              <a:rPr lang="pt" dirty="0" err="1"/>
              <a:t>deve</a:t>
            </a:r>
            <a:r>
              <a:rPr lang="pt" dirty="0"/>
              <a:t> </a:t>
            </a:r>
            <a:r>
              <a:rPr lang="pt" dirty="0" err="1"/>
              <a:t>presente </a:t>
            </a:r>
            <a:r>
              <a:rPr lang="pt" dirty="0"/>
              <a:t>ou </a:t>
            </a:r>
            <a:r>
              <a:rPr lang="pt" b="1" dirty="0" err="1"/>
              <a:t>pedido</a:t>
            </a:r>
            <a:r>
              <a:rPr lang="pt" b="1" dirty="0"/>
              <a:t> </a:t>
            </a:r>
            <a:r>
              <a:rPr lang="pt" b="1" dirty="0" err="1"/>
              <a:t>em </a:t>
            </a:r>
            <a:r>
              <a:rPr lang="pt" b="1" dirty="0"/>
              <a:t>Maio de 2025 </a:t>
            </a:r>
            <a:r>
              <a:rPr lang="pt" dirty="0"/>
              <a:t>para </a:t>
            </a:r>
            <a:r>
              <a:rPr lang="pt" dirty="0" err="1"/>
              <a:t>garantir </a:t>
            </a:r>
            <a:r>
              <a:rPr lang="pt" dirty="0"/>
              <a:t>a </a:t>
            </a:r>
            <a:r>
              <a:rPr lang="pt" dirty="0" err="1"/>
              <a:t>continuação </a:t>
            </a:r>
            <a:r>
              <a:rPr lang="pt" dirty="0"/>
              <a:t>do </a:t>
            </a:r>
            <a:r>
              <a:rPr lang="pt" dirty="0" err="1"/>
              <a:t>financiamento </a:t>
            </a:r>
            <a:r>
              <a:rPr lang="pt" dirty="0"/>
              <a:t>da Gavi </a:t>
            </a:r>
            <a:r>
              <a:rPr lang="pt" dirty="0" err="1"/>
              <a:t>a partir de </a:t>
            </a:r>
            <a:r>
              <a:rPr lang="pt" dirty="0"/>
              <a:t>2026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" dirty="0"/>
              <a:t>Como a ENV não foi divulgada para ser ligada a futuros planos de financiamento da Gavi, a ENV será </a:t>
            </a:r>
            <a:r>
              <a:rPr lang="pt" b="1" dirty="0"/>
              <a:t>complementada </a:t>
            </a:r>
            <a:r>
              <a:rPr lang="pt" dirty="0"/>
              <a:t>com alguns dos seus documento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3232650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FDBFE7-69B2-FD7E-3F55-A541E7A76F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7BAC70A-171E-1258-6AF1-6FC018AE9A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8" y="368300"/>
            <a:ext cx="11670281" cy="669668"/>
          </a:xfrm>
        </p:spPr>
        <p:txBody>
          <a:bodyPr>
            <a:noAutofit/>
          </a:bodyPr>
          <a:lstStyle/>
          <a:p>
            <a:r>
              <a:rPr lang="pt" sz="2800" dirty="0"/>
              <a:t>Ligação entre as áreas prioritárias de investimento ENV e Gavi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677182E8-9D6E-2D9E-1FBF-CE16EF5DA4E7}"/>
              </a:ext>
            </a:extLst>
          </p:cNvPr>
          <p:cNvGraphicFramePr>
            <a:graphicFrameLocks noGrp="1"/>
          </p:cNvGraphicFramePr>
          <p:nvPr/>
        </p:nvGraphicFramePr>
        <p:xfrm>
          <a:off x="319691" y="951039"/>
          <a:ext cx="5206378" cy="523998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5206378">
                  <a:extLst>
                    <a:ext uri="{9D8B030D-6E8A-4147-A177-3AD203B41FA5}">
                      <a16:colId xmlns:a16="http://schemas.microsoft.com/office/drawing/2014/main" val="3065901707"/>
                    </a:ext>
                  </a:extLst>
                </a:gridCol>
              </a:tblGrid>
              <a:tr h="639694">
                <a:tc>
                  <a:txBody>
                    <a:bodyPr/>
                    <a:lstStyle/>
                    <a:p>
                      <a:pPr algn="ctr"/>
                      <a:r>
                        <a:rPr lang="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stratégias da Estratégia Nacional de Vacinas 2024-202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69569653"/>
                  </a:ext>
                </a:extLst>
              </a:tr>
              <a:tr h="749705">
                <a:tc>
                  <a:txBody>
                    <a:bodyPr/>
                    <a:lstStyle/>
                    <a:p>
                      <a:pPr algn="ctr"/>
                      <a:r>
                        <a:rPr lang="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úmero 1: Governo e financiamento do sistema de imunidade </a:t>
                      </a:r>
                      <a:r>
                        <a:rPr lang="pt" sz="17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 </a:t>
                      </a:r>
                      <a:r>
                        <a:rPr lang="pt" sz="1700" i="1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c. RH </a:t>
                      </a:r>
                      <a:r>
                        <a:rPr lang="pt" sz="17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pt-PT" sz="17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8285897"/>
                  </a:ext>
                </a:extLst>
              </a:tr>
              <a:tr h="749705">
                <a:tc>
                  <a:txBody>
                    <a:bodyPr/>
                    <a:lstStyle/>
                    <a:p>
                      <a:pPr algn="ctr"/>
                      <a:r>
                        <a:rPr lang="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úmero 2: Sistema de abastecimento, qualidade, logística e gestão de resíduos</a:t>
                      </a:r>
                      <a:endParaRPr lang="pt-PT" sz="17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52244991"/>
                  </a:ext>
                </a:extLst>
              </a:tr>
              <a:tr h="749705">
                <a:tc>
                  <a:txBody>
                    <a:bodyPr/>
                    <a:lstStyle/>
                    <a:p>
                      <a:pPr algn="ctr"/>
                      <a:r>
                        <a:rPr lang="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rte 3: Prestação de serviços, equidade e sistema de informação</a:t>
                      </a:r>
                      <a:endParaRPr lang="pt-PT" sz="17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65851081"/>
                  </a:ext>
                </a:extLst>
              </a:tr>
              <a:tr h="851761">
                <a:tc>
                  <a:txBody>
                    <a:bodyPr/>
                    <a:lstStyle/>
                    <a:p>
                      <a:pPr algn="ctr"/>
                      <a:r>
                        <a:rPr lang="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rte 4: Vigilância, preparação e resposta do DEV e MAPI a situações emergentes detectadas no DEV</a:t>
                      </a:r>
                      <a:endParaRPr lang="pt-PT" sz="17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12156558"/>
                  </a:ext>
                </a:extLst>
              </a:tr>
              <a:tr h="749705">
                <a:tc>
                  <a:txBody>
                    <a:bodyPr/>
                    <a:lstStyle/>
                    <a:p>
                      <a:pPr algn="ctr"/>
                      <a:r>
                        <a:rPr lang="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pisódio 5: Solicitação e envolvimento dos interessado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90280979"/>
                  </a:ext>
                </a:extLst>
              </a:tr>
              <a:tr h="749705">
                <a:tc>
                  <a:txBody>
                    <a:bodyPr/>
                    <a:lstStyle/>
                    <a:p>
                      <a:pPr algn="ctr"/>
                      <a:r>
                        <a:rPr lang="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pisódio 6: </a:t>
                      </a:r>
                      <a:r>
                        <a:rPr lang="pt" sz="180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vestigação e inovação</a:t>
                      </a:r>
                      <a:endParaRPr lang="pt-PT" sz="17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38639199"/>
                  </a:ext>
                </a:extLst>
              </a:tr>
            </a:tbl>
          </a:graphicData>
        </a:graphic>
      </p:graphicFrame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F4427733-CBB6-9403-C526-47D929D6219D}"/>
              </a:ext>
            </a:extLst>
          </p:cNvPr>
          <p:cNvSpPr/>
          <p:nvPr/>
        </p:nvSpPr>
        <p:spPr>
          <a:xfrm rot="5400000">
            <a:off x="4013060" y="3650916"/>
            <a:ext cx="4606662" cy="225834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DD057E9C-C719-726F-FFB3-735047188AC1}"/>
              </a:ext>
            </a:extLst>
          </p:cNvPr>
          <p:cNvSpPr/>
          <p:nvPr/>
        </p:nvSpPr>
        <p:spPr>
          <a:xfrm rot="16200000">
            <a:off x="3787226" y="3650916"/>
            <a:ext cx="4606662" cy="225834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5EF4DCD0-F40D-4017-331A-611022A1EE09}"/>
              </a:ext>
            </a:extLst>
          </p:cNvPr>
          <p:cNvGraphicFramePr>
            <a:graphicFrameLocks noGrp="1"/>
          </p:cNvGraphicFramePr>
          <p:nvPr/>
        </p:nvGraphicFramePr>
        <p:xfrm>
          <a:off x="6678852" y="951038"/>
          <a:ext cx="5325305" cy="5239982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5325305">
                  <a:extLst>
                    <a:ext uri="{9D8B030D-6E8A-4147-A177-3AD203B41FA5}">
                      <a16:colId xmlns:a16="http://schemas.microsoft.com/office/drawing/2014/main" val="3065901707"/>
                    </a:ext>
                  </a:extLst>
                </a:gridCol>
              </a:tblGrid>
              <a:tr h="687301">
                <a:tc>
                  <a:txBody>
                    <a:bodyPr/>
                    <a:lstStyle/>
                    <a:p>
                      <a:pPr algn="ctr"/>
                      <a:r>
                        <a:rPr lang="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Áreas prioritárias de investimento da Gavi</a:t>
                      </a:r>
                    </a:p>
                    <a:p>
                      <a:pPr algn="ctr"/>
                      <a:r>
                        <a:rPr lang="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6-2030 (Gavi 6.0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69569653"/>
                  </a:ext>
                </a:extLst>
              </a:tr>
              <a:tr h="65525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 Governo, política, planeamento estratégico e gestão de programas</a:t>
                      </a:r>
                      <a:endParaRPr lang="pt-PT" sz="17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38183150"/>
                  </a:ext>
                </a:extLst>
              </a:tr>
              <a:tr h="51544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 Gestão de recursos humano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90195428"/>
                  </a:ext>
                </a:extLst>
              </a:tr>
              <a:tr h="51544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 Fornecimento de vacinas</a:t>
                      </a:r>
                      <a:endParaRPr lang="pt-PT" sz="17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25591082"/>
                  </a:ext>
                </a:extLst>
              </a:tr>
              <a:tr h="515448">
                <a:tc>
                  <a:txBody>
                    <a:bodyPr/>
                    <a:lstStyle/>
                    <a:p>
                      <a:pPr algn="ctr"/>
                      <a:r>
                        <a:rPr lang="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 Prestação de serviço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8285897"/>
                  </a:ext>
                </a:extLst>
              </a:tr>
              <a:tr h="66305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. Sistemas de informação de segurança, monitorização e aprendizagem</a:t>
                      </a:r>
                      <a:endParaRPr lang="pt-PT" sz="17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52244991"/>
                  </a:ext>
                </a:extLst>
              </a:tr>
              <a:tr h="50913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 Vigilância epidemiológica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65851081"/>
                  </a:ext>
                </a:extLst>
              </a:tr>
              <a:tr h="675626">
                <a:tc>
                  <a:txBody>
                    <a:bodyPr/>
                    <a:lstStyle/>
                    <a:p>
                      <a:pPr algn="ctr"/>
                      <a:r>
                        <a:rPr lang="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. Aquisições e envolvimento da comunidade</a:t>
                      </a:r>
                      <a:endParaRPr lang="pt-PT" sz="17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12156558"/>
                  </a:ext>
                </a:extLst>
              </a:tr>
              <a:tr h="503266">
                <a:tc>
                  <a:txBody>
                    <a:bodyPr/>
                    <a:lstStyle/>
                    <a:p>
                      <a:pPr algn="ctr"/>
                      <a:r>
                        <a:rPr lang="pt" sz="17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. Financiamento salaria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3527115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37BB9D7C-BD97-1975-FFE0-7DA8D07B02AF}"/>
              </a:ext>
            </a:extLst>
          </p:cNvPr>
          <p:cNvSpPr/>
          <p:nvPr/>
        </p:nvSpPr>
        <p:spPr>
          <a:xfrm>
            <a:off x="5487510" y="1594884"/>
            <a:ext cx="600116" cy="7549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" sz="1600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1 </a:t>
            </a:r>
            <a:br>
              <a:rPr lang="pt-PT" sz="1600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" sz="1600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2 </a:t>
            </a:r>
            <a:br>
              <a:rPr lang="pt-PT" sz="1600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" sz="1600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8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57189DC-5F7A-34EB-7FDF-667FD5026633}"/>
              </a:ext>
            </a:extLst>
          </p:cNvPr>
          <p:cNvSpPr/>
          <p:nvPr/>
        </p:nvSpPr>
        <p:spPr>
          <a:xfrm>
            <a:off x="5487510" y="2394873"/>
            <a:ext cx="600116" cy="7549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" sz="1600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F25A700-F70F-4C94-6322-2877D7DDB63C}"/>
              </a:ext>
            </a:extLst>
          </p:cNvPr>
          <p:cNvSpPr/>
          <p:nvPr/>
        </p:nvSpPr>
        <p:spPr>
          <a:xfrm>
            <a:off x="5487510" y="3076113"/>
            <a:ext cx="600116" cy="7549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" sz="1600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4</a:t>
            </a:r>
          </a:p>
          <a:p>
            <a:pPr algn="ctr"/>
            <a:r>
              <a:rPr lang="pt" sz="1600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5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837C1B8-B8AD-1DC1-CD57-591716FD10C7}"/>
              </a:ext>
            </a:extLst>
          </p:cNvPr>
          <p:cNvSpPr/>
          <p:nvPr/>
        </p:nvSpPr>
        <p:spPr>
          <a:xfrm>
            <a:off x="5478068" y="3860690"/>
            <a:ext cx="600116" cy="7549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" sz="1600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6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170105A-2277-D2F4-7300-FD76CE085481}"/>
              </a:ext>
            </a:extLst>
          </p:cNvPr>
          <p:cNvSpPr/>
          <p:nvPr/>
        </p:nvSpPr>
        <p:spPr>
          <a:xfrm>
            <a:off x="5487510" y="4660679"/>
            <a:ext cx="600116" cy="7549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" sz="1600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7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3677F6-2A49-4D05-D502-74B7D0DC42D4}"/>
              </a:ext>
            </a:extLst>
          </p:cNvPr>
          <p:cNvSpPr/>
          <p:nvPr/>
        </p:nvSpPr>
        <p:spPr>
          <a:xfrm>
            <a:off x="5142789" y="5498105"/>
            <a:ext cx="1342090" cy="7549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" sz="1600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versal</a:t>
            </a:r>
          </a:p>
        </p:txBody>
      </p:sp>
    </p:spTree>
    <p:extLst>
      <p:ext uri="{BB962C8B-B14F-4D97-AF65-F5344CB8AC3E}">
        <p14:creationId xmlns:p14="http://schemas.microsoft.com/office/powerpoint/2010/main" val="263989847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572252-6B88-326E-C4C2-334413FD14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679B859-E754-14D8-66D3-4A571682FE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299"/>
            <a:ext cx="11154344" cy="976407"/>
          </a:xfrm>
        </p:spPr>
        <p:txBody>
          <a:bodyPr>
            <a:noAutofit/>
          </a:bodyPr>
          <a:lstStyle/>
          <a:p>
            <a:r>
              <a:rPr lang="pt" sz="2800" dirty="0"/>
              <a:t>Cronograma de alto nível para candidatura à Gavi e implementação do portfólio completo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C8EB31AC-135B-0150-9ED7-31AD8F50886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77177" y="1816628"/>
            <a:ext cx="1807577" cy="300442"/>
          </a:xfrm>
        </p:spPr>
        <p:txBody>
          <a:bodyPr/>
          <a:lstStyle/>
          <a:p>
            <a:r>
              <a:rPr lang="pt" dirty="0"/>
              <a:t>janeiro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BA34A6E-FE92-5DC0-7DE1-CAA32BA7BF3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7178" y="2397592"/>
            <a:ext cx="1789310" cy="3288887"/>
          </a:xfrm>
        </p:spPr>
        <p:txBody>
          <a:bodyPr>
            <a:normAutofit/>
          </a:bodyPr>
          <a:lstStyle/>
          <a:p>
            <a:r>
              <a:rPr lang="pt" dirty="0"/>
              <a:t>Lançamento do processo completo de planejamento de portfólio</a:t>
            </a:r>
          </a:p>
          <a:p>
            <a:r>
              <a:rPr lang="pt" dirty="0"/>
              <a:t>Novo processo de priorização de vacinas</a:t>
            </a:r>
          </a:p>
          <a:p>
            <a:endParaRPr lang="pt-PT" dirty="0"/>
          </a:p>
          <a:p>
            <a:endParaRPr lang="pt-PT" dirty="0"/>
          </a:p>
          <a:p>
            <a:r>
              <a:rPr lang="pt" dirty="0"/>
              <a:t>Relacionamento da CIA e resposta aos nossos pontos </a:t>
            </a:r>
            <a:r>
              <a:rPr lang="pt" dirty="0" err="1"/>
              <a:t>de acesso</a:t>
            </a:r>
            <a:endParaRPr lang="pt-PT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CE5CD10-A5BC-4386-5D3F-860FD1AC8416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411179" y="1816628"/>
            <a:ext cx="1807577" cy="300442"/>
          </a:xfrm>
        </p:spPr>
        <p:txBody>
          <a:bodyPr/>
          <a:lstStyle/>
          <a:p>
            <a:r>
              <a:rPr lang="pt" dirty="0"/>
              <a:t>Fevereiro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AB3F530-6AA6-23D8-B7AF-D9AF8A48ACD9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411180" y="2397592"/>
            <a:ext cx="1789310" cy="3288887"/>
          </a:xfrm>
        </p:spPr>
        <p:txBody>
          <a:bodyPr>
            <a:normAutofit lnSpcReduction="10000"/>
          </a:bodyPr>
          <a:lstStyle/>
          <a:p>
            <a:r>
              <a:rPr lang="pt" dirty="0"/>
              <a:t>Eliminação de documentos completos do portfólio centrados na ENV 2024-2028</a:t>
            </a:r>
          </a:p>
          <a:p>
            <a:endParaRPr lang="pt-PT" dirty="0"/>
          </a:p>
          <a:p>
            <a:endParaRPr lang="pt-PT" dirty="0"/>
          </a:p>
          <a:p>
            <a:endParaRPr lang="pt-PT" dirty="0"/>
          </a:p>
          <a:p>
            <a:endParaRPr lang="pt-PT" dirty="0"/>
          </a:p>
          <a:p>
            <a:r>
              <a:rPr lang="pt" dirty="0"/>
              <a:t>Relacionamento da CIA e resposta aos nossos pontos </a:t>
            </a:r>
            <a:r>
              <a:rPr lang="pt" dirty="0" err="1"/>
              <a:t>de acesso</a:t>
            </a:r>
            <a:endParaRPr lang="pt-PT" dirty="0"/>
          </a:p>
          <a:p>
            <a:endParaRPr lang="pt-PT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BFDBE05-07A0-8594-C925-992A1AEFAE07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260193" y="1816628"/>
            <a:ext cx="1807577" cy="300442"/>
          </a:xfrm>
        </p:spPr>
        <p:txBody>
          <a:bodyPr/>
          <a:lstStyle/>
          <a:p>
            <a:r>
              <a:rPr lang="pt" dirty="0"/>
              <a:t>Marco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D493C25D-B855-3F7A-91EC-E38249EFA423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260194" y="2397592"/>
            <a:ext cx="1789310" cy="3288887"/>
          </a:xfrm>
        </p:spPr>
        <p:txBody>
          <a:bodyPr/>
          <a:lstStyle/>
          <a:p>
            <a:r>
              <a:rPr lang="pt" dirty="0"/>
              <a:t>Continuando a baixar documentos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4149E873-6901-244F-B962-2D4703BB47EA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095999" y="1816628"/>
            <a:ext cx="1807577" cy="300442"/>
          </a:xfrm>
        </p:spPr>
        <p:txBody>
          <a:bodyPr/>
          <a:lstStyle/>
          <a:p>
            <a:r>
              <a:rPr lang="pt" dirty="0"/>
              <a:t>abril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8B996E0F-5453-7337-0584-215E88B4DD2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096000" y="2397592"/>
            <a:ext cx="1789310" cy="3288887"/>
          </a:xfrm>
        </p:spPr>
        <p:txBody>
          <a:bodyPr/>
          <a:lstStyle/>
          <a:p>
            <a:r>
              <a:rPr lang="pt" dirty="0"/>
              <a:t>Finalização e validação de documentos CCIA e NITAG</a:t>
            </a:r>
          </a:p>
          <a:p>
            <a:endParaRPr lang="pt-PT" dirty="0"/>
          </a:p>
          <a:p>
            <a:endParaRPr lang="pt-PT" dirty="0"/>
          </a:p>
          <a:p>
            <a:endParaRPr lang="pt-PT" dirty="0"/>
          </a:p>
          <a:p>
            <a:endParaRPr lang="pt-PT" dirty="0"/>
          </a:p>
          <a:p>
            <a:r>
              <a:rPr lang="pt" dirty="0"/>
              <a:t>Aprovação completa do portfólio (TBC)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11D3E44A-C3B8-2044-527E-F37393BB182A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931804" y="1816628"/>
            <a:ext cx="1807577" cy="300442"/>
          </a:xfrm>
        </p:spPr>
        <p:txBody>
          <a:bodyPr/>
          <a:lstStyle/>
          <a:p>
            <a:r>
              <a:rPr lang="pt" dirty="0"/>
              <a:t>maio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18633417-DC6A-11E8-E37F-A4F6F73BB328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7931805" y="2397592"/>
            <a:ext cx="1789310" cy="3288887"/>
          </a:xfrm>
        </p:spPr>
        <p:txBody>
          <a:bodyPr/>
          <a:lstStyle/>
          <a:p>
            <a:r>
              <a:rPr lang="pt" dirty="0"/>
              <a:t>Praça das Candidaturas (1 de Maio)</a:t>
            </a:r>
          </a:p>
          <a:p>
            <a:r>
              <a:rPr lang="pt" dirty="0"/>
              <a:t>Processo </a:t>
            </a:r>
            <a:r>
              <a:rPr lang="pt" dirty="0" err="1"/>
              <a:t>de pré-seleção </a:t>
            </a:r>
            <a:r>
              <a:rPr lang="pt" dirty="0"/>
              <a:t>da Gavi e revisão de documentos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28E7780-F001-C133-455D-774706148CDB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743356" y="1816628"/>
            <a:ext cx="1807577" cy="300442"/>
          </a:xfrm>
        </p:spPr>
        <p:txBody>
          <a:bodyPr/>
          <a:lstStyle/>
          <a:p>
            <a:r>
              <a:rPr lang="pt" dirty="0"/>
              <a:t>Junho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DDE1A48B-CC3D-F674-7B35-6BBA3109C052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743357" y="2397592"/>
            <a:ext cx="1789310" cy="3288887"/>
          </a:xfrm>
        </p:spPr>
        <p:txBody>
          <a:bodyPr/>
          <a:lstStyle/>
          <a:p>
            <a:r>
              <a:rPr lang="pt" dirty="0"/>
              <a:t>Comitê de Avaliação Independente</a:t>
            </a:r>
          </a:p>
          <a:p>
            <a:endParaRPr lang="pt-PT" dirty="0"/>
          </a:p>
          <a:p>
            <a:endParaRPr lang="pt-PT" dirty="0"/>
          </a:p>
          <a:p>
            <a:endParaRPr lang="pt-PT" dirty="0"/>
          </a:p>
          <a:p>
            <a:endParaRPr lang="pt-PT" dirty="0"/>
          </a:p>
          <a:p>
            <a:endParaRPr lang="pt-PT" dirty="0"/>
          </a:p>
          <a:p>
            <a:r>
              <a:rPr lang="pt" dirty="0"/>
              <a:t>Desembolsação financeira RSS</a:t>
            </a:r>
          </a:p>
        </p:txBody>
      </p:sp>
      <p:sp>
        <p:nvSpPr>
          <p:cNvPr id="29" name="Text Placeholder 16">
            <a:extLst>
              <a:ext uri="{FF2B5EF4-FFF2-40B4-BE49-F238E27FC236}">
                <a16:creationId xmlns:a16="http://schemas.microsoft.com/office/drawing/2014/main" id="{68FE6A7E-8431-3EAD-C787-DD7D4CACBB66}"/>
              </a:ext>
            </a:extLst>
          </p:cNvPr>
          <p:cNvSpPr txBox="1">
            <a:spLocks/>
          </p:cNvSpPr>
          <p:nvPr/>
        </p:nvSpPr>
        <p:spPr>
          <a:xfrm>
            <a:off x="580715" y="4031748"/>
            <a:ext cx="1807577" cy="300442"/>
          </a:xfrm>
          <a:prstGeom prst="rect">
            <a:avLst/>
          </a:prstGeom>
        </p:spPr>
        <p:txBody>
          <a:bodyPr vert="horz" lIns="72000" tIns="0" rIns="288000" bIns="0" rtlCol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98" b="1" i="0" kern="120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" dirty="0"/>
              <a:t>julho</a:t>
            </a:r>
          </a:p>
        </p:txBody>
      </p:sp>
      <p:sp>
        <p:nvSpPr>
          <p:cNvPr id="30" name="Text Placeholder 18">
            <a:extLst>
              <a:ext uri="{FF2B5EF4-FFF2-40B4-BE49-F238E27FC236}">
                <a16:creationId xmlns:a16="http://schemas.microsoft.com/office/drawing/2014/main" id="{0D75072D-7A19-0B87-B5D1-96DBEAAAD66C}"/>
              </a:ext>
            </a:extLst>
          </p:cNvPr>
          <p:cNvSpPr txBox="1">
            <a:spLocks/>
          </p:cNvSpPr>
          <p:nvPr/>
        </p:nvSpPr>
        <p:spPr>
          <a:xfrm>
            <a:off x="2414717" y="4031748"/>
            <a:ext cx="1807577" cy="300442"/>
          </a:xfrm>
          <a:prstGeom prst="rect">
            <a:avLst/>
          </a:prstGeom>
        </p:spPr>
        <p:txBody>
          <a:bodyPr vert="horz" lIns="72000" tIns="0" rIns="288000" bIns="0" rtlCol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98" b="1" i="0" kern="120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" dirty="0"/>
              <a:t>agosto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258E88EA-B73B-D891-DA93-7BD05DE0610C}"/>
              </a:ext>
            </a:extLst>
          </p:cNvPr>
          <p:cNvSpPr txBox="1">
            <a:spLocks/>
          </p:cNvSpPr>
          <p:nvPr/>
        </p:nvSpPr>
        <p:spPr>
          <a:xfrm>
            <a:off x="4263731" y="4031748"/>
            <a:ext cx="1807577" cy="300442"/>
          </a:xfrm>
          <a:prstGeom prst="rect">
            <a:avLst/>
          </a:prstGeom>
        </p:spPr>
        <p:txBody>
          <a:bodyPr vert="horz" lIns="72000" tIns="0" rIns="288000" bIns="0" rtlCol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98" b="1" i="0" kern="120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" dirty="0"/>
              <a:t>Setembro</a:t>
            </a:r>
          </a:p>
        </p:txBody>
      </p:sp>
      <p:sp>
        <p:nvSpPr>
          <p:cNvPr id="32" name="Text Placeholder 22">
            <a:extLst>
              <a:ext uri="{FF2B5EF4-FFF2-40B4-BE49-F238E27FC236}">
                <a16:creationId xmlns:a16="http://schemas.microsoft.com/office/drawing/2014/main" id="{D2167A6D-BABC-A5C7-02AF-D7AAF0B43463}"/>
              </a:ext>
            </a:extLst>
          </p:cNvPr>
          <p:cNvSpPr txBox="1">
            <a:spLocks/>
          </p:cNvSpPr>
          <p:nvPr/>
        </p:nvSpPr>
        <p:spPr>
          <a:xfrm>
            <a:off x="6099537" y="4031748"/>
            <a:ext cx="1807577" cy="300442"/>
          </a:xfrm>
          <a:prstGeom prst="rect">
            <a:avLst/>
          </a:prstGeom>
        </p:spPr>
        <p:txBody>
          <a:bodyPr vert="horz" lIns="72000" tIns="0" rIns="288000" bIns="0" rtlCol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98" b="1" i="0" kern="120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" dirty="0"/>
              <a:t>Outubro</a:t>
            </a:r>
          </a:p>
        </p:txBody>
      </p:sp>
      <p:sp>
        <p:nvSpPr>
          <p:cNvPr id="33" name="Text Placeholder 24">
            <a:extLst>
              <a:ext uri="{FF2B5EF4-FFF2-40B4-BE49-F238E27FC236}">
                <a16:creationId xmlns:a16="http://schemas.microsoft.com/office/drawing/2014/main" id="{0C790783-AD44-B4F9-5033-127F31001D04}"/>
              </a:ext>
            </a:extLst>
          </p:cNvPr>
          <p:cNvSpPr txBox="1">
            <a:spLocks/>
          </p:cNvSpPr>
          <p:nvPr/>
        </p:nvSpPr>
        <p:spPr>
          <a:xfrm>
            <a:off x="7935342" y="4031748"/>
            <a:ext cx="1807577" cy="300442"/>
          </a:xfrm>
          <a:prstGeom prst="rect">
            <a:avLst/>
          </a:prstGeom>
        </p:spPr>
        <p:txBody>
          <a:bodyPr vert="horz" lIns="72000" tIns="0" rIns="288000" bIns="0" rtlCol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98" b="1" i="0" kern="120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" dirty="0"/>
              <a:t>novembro</a:t>
            </a:r>
          </a:p>
        </p:txBody>
      </p:sp>
      <p:sp>
        <p:nvSpPr>
          <p:cNvPr id="34" name="Text Placeholder 26">
            <a:extLst>
              <a:ext uri="{FF2B5EF4-FFF2-40B4-BE49-F238E27FC236}">
                <a16:creationId xmlns:a16="http://schemas.microsoft.com/office/drawing/2014/main" id="{1C85D04A-FEBC-059E-C9CD-3074FC105928}"/>
              </a:ext>
            </a:extLst>
          </p:cNvPr>
          <p:cNvSpPr txBox="1">
            <a:spLocks/>
          </p:cNvSpPr>
          <p:nvPr/>
        </p:nvSpPr>
        <p:spPr>
          <a:xfrm>
            <a:off x="9746894" y="4031748"/>
            <a:ext cx="1807577" cy="300442"/>
          </a:xfrm>
          <a:prstGeom prst="rect">
            <a:avLst/>
          </a:prstGeom>
        </p:spPr>
        <p:txBody>
          <a:bodyPr vert="horz" lIns="72000" tIns="0" rIns="288000" bIns="0" rtlCol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98" b="1" i="0" kern="120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" dirty="0"/>
              <a:t>dezembro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D00130C-C9BC-70D2-A32A-4BDB05F4B022}"/>
              </a:ext>
            </a:extLst>
          </p:cNvPr>
          <p:cNvCxnSpPr/>
          <p:nvPr/>
        </p:nvCxnSpPr>
        <p:spPr>
          <a:xfrm>
            <a:off x="577177" y="4423139"/>
            <a:ext cx="10973756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Oval 36">
            <a:extLst>
              <a:ext uri="{FF2B5EF4-FFF2-40B4-BE49-F238E27FC236}">
                <a16:creationId xmlns:a16="http://schemas.microsoft.com/office/drawing/2014/main" id="{57835AF8-302F-E20A-A268-0AA437137E99}"/>
              </a:ext>
            </a:extLst>
          </p:cNvPr>
          <p:cNvSpPr/>
          <p:nvPr/>
        </p:nvSpPr>
        <p:spPr>
          <a:xfrm>
            <a:off x="659333" y="4364089"/>
            <a:ext cx="121298" cy="13666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CA8843CB-C0C9-AABA-65A7-9BE7D433F326}"/>
              </a:ext>
            </a:extLst>
          </p:cNvPr>
          <p:cNvSpPr/>
          <p:nvPr/>
        </p:nvSpPr>
        <p:spPr>
          <a:xfrm>
            <a:off x="2470885" y="4354807"/>
            <a:ext cx="121298" cy="13666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4E2E9789-3708-D859-4B0B-6C8198E82C59}"/>
              </a:ext>
            </a:extLst>
          </p:cNvPr>
          <p:cNvSpPr/>
          <p:nvPr/>
        </p:nvSpPr>
        <p:spPr>
          <a:xfrm>
            <a:off x="4356391" y="4354807"/>
            <a:ext cx="121298" cy="13666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1BDD5911-286A-61EB-D597-E22AD40F9665}"/>
              </a:ext>
            </a:extLst>
          </p:cNvPr>
          <p:cNvSpPr/>
          <p:nvPr/>
        </p:nvSpPr>
        <p:spPr>
          <a:xfrm>
            <a:off x="6145701" y="4354807"/>
            <a:ext cx="121298" cy="13666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0FC8413B-9B69-02EB-6CF4-A5246E1C3E66}"/>
              </a:ext>
            </a:extLst>
          </p:cNvPr>
          <p:cNvSpPr/>
          <p:nvPr/>
        </p:nvSpPr>
        <p:spPr>
          <a:xfrm>
            <a:off x="8060066" y="4364089"/>
            <a:ext cx="121298" cy="13666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B153EB56-E05B-9210-9C30-046113616881}"/>
              </a:ext>
            </a:extLst>
          </p:cNvPr>
          <p:cNvSpPr/>
          <p:nvPr/>
        </p:nvSpPr>
        <p:spPr>
          <a:xfrm>
            <a:off x="9849376" y="4354806"/>
            <a:ext cx="121298" cy="13666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43" name="Text Placeholder 16">
            <a:extLst>
              <a:ext uri="{FF2B5EF4-FFF2-40B4-BE49-F238E27FC236}">
                <a16:creationId xmlns:a16="http://schemas.microsoft.com/office/drawing/2014/main" id="{CFB009E9-8198-E05A-A117-9196F140FE50}"/>
              </a:ext>
            </a:extLst>
          </p:cNvPr>
          <p:cNvSpPr txBox="1">
            <a:spLocks/>
          </p:cNvSpPr>
          <p:nvPr/>
        </p:nvSpPr>
        <p:spPr>
          <a:xfrm>
            <a:off x="399423" y="1337076"/>
            <a:ext cx="1807577" cy="410130"/>
          </a:xfrm>
          <a:prstGeom prst="rect">
            <a:avLst/>
          </a:prstGeom>
        </p:spPr>
        <p:txBody>
          <a:bodyPr vert="horz" lIns="72000" tIns="0" rIns="288000" bIns="0" rtlCol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98" b="1" i="0" kern="120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" sz="2000" dirty="0">
                <a:solidFill>
                  <a:schemeClr val="accent1"/>
                </a:solidFill>
              </a:rPr>
              <a:t>2025</a:t>
            </a:r>
          </a:p>
        </p:txBody>
      </p:sp>
      <p:sp>
        <p:nvSpPr>
          <p:cNvPr id="44" name="Text Placeholder 16">
            <a:extLst>
              <a:ext uri="{FF2B5EF4-FFF2-40B4-BE49-F238E27FC236}">
                <a16:creationId xmlns:a16="http://schemas.microsoft.com/office/drawing/2014/main" id="{392ED671-1C3F-E055-5EE7-BE37510D1AD9}"/>
              </a:ext>
            </a:extLst>
          </p:cNvPr>
          <p:cNvSpPr txBox="1">
            <a:spLocks/>
          </p:cNvSpPr>
          <p:nvPr/>
        </p:nvSpPr>
        <p:spPr>
          <a:xfrm>
            <a:off x="485575" y="5487299"/>
            <a:ext cx="1807577" cy="410130"/>
          </a:xfrm>
          <a:prstGeom prst="rect">
            <a:avLst/>
          </a:prstGeom>
        </p:spPr>
        <p:txBody>
          <a:bodyPr vert="horz" lIns="72000" tIns="0" rIns="288000" bIns="0" rtlCol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98" b="1" i="0" kern="120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" sz="2000" dirty="0">
                <a:solidFill>
                  <a:schemeClr val="accent1"/>
                </a:solidFill>
              </a:rPr>
              <a:t>2026</a:t>
            </a:r>
          </a:p>
        </p:txBody>
      </p:sp>
      <p:sp>
        <p:nvSpPr>
          <p:cNvPr id="45" name="Text Placeholder 16">
            <a:extLst>
              <a:ext uri="{FF2B5EF4-FFF2-40B4-BE49-F238E27FC236}">
                <a16:creationId xmlns:a16="http://schemas.microsoft.com/office/drawing/2014/main" id="{9699D441-E3D7-7972-D241-E4B7C5EB7D1A}"/>
              </a:ext>
            </a:extLst>
          </p:cNvPr>
          <p:cNvSpPr txBox="1">
            <a:spLocks/>
          </p:cNvSpPr>
          <p:nvPr/>
        </p:nvSpPr>
        <p:spPr>
          <a:xfrm>
            <a:off x="621388" y="5904195"/>
            <a:ext cx="1807577" cy="300442"/>
          </a:xfrm>
          <a:prstGeom prst="rect">
            <a:avLst/>
          </a:prstGeom>
        </p:spPr>
        <p:txBody>
          <a:bodyPr vert="horz" lIns="72000" tIns="0" rIns="288000" bIns="0" rtlCol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98" b="1" i="0" kern="120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" dirty="0"/>
              <a:t>janeiro</a:t>
            </a: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FAA23C7A-9D85-8136-F3A4-C3C157923406}"/>
              </a:ext>
            </a:extLst>
          </p:cNvPr>
          <p:cNvSpPr/>
          <p:nvPr/>
        </p:nvSpPr>
        <p:spPr>
          <a:xfrm>
            <a:off x="700006" y="6236536"/>
            <a:ext cx="121298" cy="13666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2813D403-2D19-6CA8-C6C6-B041D7C9EA26}"/>
              </a:ext>
            </a:extLst>
          </p:cNvPr>
          <p:cNvCxnSpPr>
            <a:cxnSpLocks/>
          </p:cNvCxnSpPr>
          <p:nvPr/>
        </p:nvCxnSpPr>
        <p:spPr>
          <a:xfrm>
            <a:off x="577177" y="6300334"/>
            <a:ext cx="8205316" cy="0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 Placeholder 17">
            <a:extLst>
              <a:ext uri="{FF2B5EF4-FFF2-40B4-BE49-F238E27FC236}">
                <a16:creationId xmlns:a16="http://schemas.microsoft.com/office/drawing/2014/main" id="{CB38E9A6-288F-D92D-1ADC-38D66BD310CB}"/>
              </a:ext>
            </a:extLst>
          </p:cNvPr>
          <p:cNvSpPr txBox="1">
            <a:spLocks/>
          </p:cNvSpPr>
          <p:nvPr/>
        </p:nvSpPr>
        <p:spPr>
          <a:xfrm>
            <a:off x="659333" y="6344229"/>
            <a:ext cx="5922220" cy="431876"/>
          </a:xfrm>
          <a:prstGeom prst="rect">
            <a:avLst/>
          </a:prstGeom>
        </p:spPr>
        <p:txBody>
          <a:bodyPr vert="horz" lIns="108000" tIns="0" rIns="216000" bIns="0" rtlCol="0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2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" dirty="0"/>
              <a:t>Início da implementação do portfólio completo 2026-2030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C7247C35-7A4F-0BE6-6A93-F6D96B639D38}"/>
              </a:ext>
            </a:extLst>
          </p:cNvPr>
          <p:cNvSpPr/>
          <p:nvPr/>
        </p:nvSpPr>
        <p:spPr>
          <a:xfrm>
            <a:off x="10398643" y="0"/>
            <a:ext cx="1793358" cy="26972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" dirty="0">
                <a:latin typeface="Arial" panose="020B0604020202020204" pitchFamily="34" charset="0"/>
                <a:cs typeface="Arial" panose="020B0604020202020204" pitchFamily="34" charset="0"/>
              </a:rPr>
              <a:t>Processo FPP</a:t>
            </a:r>
          </a:p>
        </p:txBody>
      </p:sp>
    </p:spTree>
    <p:extLst>
      <p:ext uri="{BB962C8B-B14F-4D97-AF65-F5344CB8AC3E}">
        <p14:creationId xmlns:p14="http://schemas.microsoft.com/office/powerpoint/2010/main" val="31592505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D013AC-61CA-2733-281E-88E48A5ECA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pt" dirty="0"/>
              <a:t>Contexto da visita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F7E1B42-D8A5-8F26-E174-77ECAE0F0B70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02922" y="1280675"/>
            <a:ext cx="10892714" cy="5055373"/>
          </a:xfrm>
        </p:spPr>
        <p:txBody>
          <a:bodyPr>
            <a:normAutofit/>
          </a:bodyPr>
          <a:lstStyle/>
          <a:p>
            <a:pPr marL="342900" marR="0" lvl="0" indent="-342900" algn="just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pt" sz="2000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erca de 70.000 vidas </a:t>
            </a:r>
            <a:r>
              <a:rPr lang="pt" sz="2000" kern="100" dirty="0">
                <a:ea typeface="Aptos" panose="020B0004020202020204" pitchFamily="34" charset="0"/>
                <a:cs typeface="Times New Roman" panose="02020603050405020304" pitchFamily="18" charset="0"/>
              </a:rPr>
              <a:t>salvas pela vacinação (rotina e campanhas) com o </a:t>
            </a:r>
            <a:r>
              <a:rPr lang="pt" sz="2000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poio da Gavi desde 2002</a:t>
            </a:r>
          </a:p>
          <a:p>
            <a:pPr marL="342900" marR="0" lvl="0" indent="-342900" algn="just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pt" sz="2000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 Gavi está a fornecer 26 milhões de dólares para o período 2021-2025 para aumentar a cobertura vacinal, reduzir o número de crianças que recebem a dose zero, introduzir novas vacinas e reforçar a viabilidade financeira e programática do PAV</a:t>
            </a:r>
          </a:p>
          <a:p>
            <a:pPr marL="342900" marR="0" lvl="0" indent="-342900" algn="just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pt" sz="2000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Recuperação da cobertura vacinal após queda durante a Covid-19; cronograma acelerado de introdução de novas vacinas (Homens A, VAR2, RR); criação da UGCP para fortalecer a gestão financeira do MINSAP</a:t>
            </a:r>
          </a:p>
          <a:p>
            <a:pPr marL="342900" marR="0" lvl="0" indent="-342900" algn="just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pt" sz="2000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no marcante 2025: último ano de HSS2 e CDS3; Grande atualização; campanha contra febre amarela; introdução da vacina contra RR e malária; apoiar o planejamento do portfólio 2026-30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57AFB462-B2B3-0792-A939-0296961321F9}"/>
              </a:ext>
            </a:extLst>
          </p:cNvPr>
          <p:cNvSpPr txBox="1">
            <a:spLocks/>
          </p:cNvSpPr>
          <p:nvPr/>
        </p:nvSpPr>
        <p:spPr>
          <a:xfrm>
            <a:off x="5424206" y="987618"/>
            <a:ext cx="6264872" cy="293057"/>
          </a:xfrm>
          <a:prstGeom prst="rect">
            <a:avLst/>
          </a:prstGeom>
        </p:spPr>
        <p:txBody>
          <a:bodyPr vert="horz" lIns="0" tIns="0" rIns="0" bIns="0" numCol="1" spcCol="180000" rtlCol="0">
            <a:normAutofit fontScale="92500"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0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 startAt="7"/>
              <a:tabLst>
                <a:tab pos="457200" algn="l"/>
              </a:tabLst>
            </a:pPr>
            <a:endParaRPr lang="en-US" dirty="0"/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FA0F93A8-A41C-B7EE-4AA7-EB089B37F4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</p:spPr>
        <p:txBody>
          <a:bodyPr/>
          <a:lstStyle/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2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681114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66ADB6-9CBC-D841-FB7D-20915A573F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864CE8-C248-8AEE-D315-30E650968E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4734" y="541368"/>
            <a:ext cx="11154344" cy="592778"/>
          </a:xfrm>
        </p:spPr>
        <p:txBody>
          <a:bodyPr anchor="t">
            <a:normAutofit/>
          </a:bodyPr>
          <a:lstStyle/>
          <a:p>
            <a:pPr algn="ctr"/>
            <a:r>
              <a:rPr lang="pt" dirty="0"/>
              <a:t>MUITO OBRIGADO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8C6AA590-5CC4-6883-5A2C-5251C17F00F3}"/>
              </a:ext>
            </a:extLst>
          </p:cNvPr>
          <p:cNvSpPr txBox="1">
            <a:spLocks/>
          </p:cNvSpPr>
          <p:nvPr/>
        </p:nvSpPr>
        <p:spPr>
          <a:xfrm>
            <a:off x="5424206" y="987618"/>
            <a:ext cx="6264872" cy="293057"/>
          </a:xfrm>
          <a:prstGeom prst="rect">
            <a:avLst/>
          </a:prstGeom>
        </p:spPr>
        <p:txBody>
          <a:bodyPr vert="horz" lIns="0" tIns="0" rIns="0" bIns="0" numCol="1" spcCol="180000" rtlCol="0">
            <a:normAutofit fontScale="92500"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0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 startAt="7"/>
              <a:tabLst>
                <a:tab pos="457200" algn="l"/>
              </a:tabLst>
            </a:pPr>
            <a:endParaRPr lang="en-US" dirty="0"/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A2590054-A37E-FFC1-7687-17E6F32C35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</p:spPr>
        <p:txBody>
          <a:bodyPr/>
          <a:lstStyle/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20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5" name="Picture 4" descr="A person holding a child&#10;&#10;Description automatically generated">
            <a:extLst>
              <a:ext uri="{FF2B5EF4-FFF2-40B4-BE49-F238E27FC236}">
                <a16:creationId xmlns:a16="http://schemas.microsoft.com/office/drawing/2014/main" id="{5EB12C1E-EA33-4914-5E4B-C9B7C8D7AC0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b="12386"/>
          <a:stretch/>
        </p:blipFill>
        <p:spPr>
          <a:xfrm>
            <a:off x="2268959" y="1232528"/>
            <a:ext cx="7654081" cy="4717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73272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BF8B6B-1BFF-1CE8-1C2E-CC03EF5B34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61D109-2849-4322-B578-EBAC798C02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 fontScale="90000"/>
          </a:bodyPr>
          <a:lstStyle/>
          <a:p>
            <a:r>
              <a:rPr lang="pt" dirty="0"/>
              <a:t>Objetivos da avaliação conjunta e workshop inicial de planejamento de portfólio completo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5177B5FE-0947-5E76-A88A-054B7955481C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15937" y="1635891"/>
            <a:ext cx="11054985" cy="3586218"/>
          </a:xfrm>
        </p:spPr>
        <p:txBody>
          <a:bodyPr>
            <a:normAutofit/>
          </a:bodyPr>
          <a:lstStyle/>
          <a:p>
            <a:pPr marL="342900" marR="0" lvl="0" indent="-342900" algn="just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pt" sz="2200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onitorizar o progresso anual do programa de vacinação de rotina em relação às metas nacionais.</a:t>
            </a:r>
            <a:endParaRPr lang="en-US" sz="22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lvl="0" indent="-342900" algn="just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pt" sz="2200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Rever a contribuição das subvenções da Gavi</a:t>
            </a:r>
            <a:endParaRPr lang="en-US" sz="22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lvl="0" indent="-342900" algn="just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pt" sz="2200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dentificar oportunidades de melhoria do programa para o ano de 2025 e a necessidade de ajustes no apoio da Gavi (particularmente subvenções e projetos de assistência técnica)</a:t>
            </a:r>
            <a:endParaRPr lang="en-US" sz="22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lvl="0" indent="-342900" algn="just">
              <a:lnSpc>
                <a:spcPct val="107000"/>
              </a:lnSpc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pt" sz="2200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hegar a acordo sobre os objectivos, ambições, processo de governação e calendário de planeamento para todo o portfólio da Gavi.</a:t>
            </a:r>
            <a:endParaRPr lang="en-US" sz="22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fontAlgn="base"/>
            <a:endParaRPr lang="pt-PT" sz="2200" b="0" i="0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algn="ctr"/>
            <a:endParaRPr lang="pt-PT" sz="2200" dirty="0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744E4F43-E934-843F-F0FF-6E1247833087}"/>
              </a:ext>
            </a:extLst>
          </p:cNvPr>
          <p:cNvSpPr txBox="1">
            <a:spLocks/>
          </p:cNvSpPr>
          <p:nvPr/>
        </p:nvSpPr>
        <p:spPr>
          <a:xfrm>
            <a:off x="5424206" y="987618"/>
            <a:ext cx="6264872" cy="293057"/>
          </a:xfrm>
          <a:prstGeom prst="rect">
            <a:avLst/>
          </a:prstGeom>
        </p:spPr>
        <p:txBody>
          <a:bodyPr vert="horz" lIns="0" tIns="0" rIns="0" bIns="0" numCol="1" spcCol="180000" rtlCol="0">
            <a:normAutofit fontScale="92500"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0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 startAt="7"/>
              <a:tabLst>
                <a:tab pos="457200" algn="l"/>
              </a:tabLst>
            </a:pPr>
            <a:endParaRPr lang="en-US" dirty="0"/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66CA190A-F8D5-E6C5-3CA4-DF7EBCC6B1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</p:spPr>
        <p:txBody>
          <a:bodyPr/>
          <a:lstStyle/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3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35030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A549A6-B362-5B53-0A10-FA33CA3EA4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C18D3D-7E4F-34CA-9582-CC1A2DE533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pt" dirty="0"/>
              <a:t>Ampla participação das partes interessadas do sistema de saúd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1458530-564E-8DE9-7FE0-77A9A22CB6A4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2" y="1592906"/>
            <a:ext cx="5299825" cy="4204608"/>
          </a:xfrm>
        </p:spPr>
        <p:txBody>
          <a:bodyPr>
            <a:normAutofit/>
          </a:bodyPr>
          <a:lstStyle/>
          <a:p>
            <a:pPr marL="342900" marR="0" lvl="0" indent="-342900" algn="just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pt" sz="2000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inistro da Saúde Pública</a:t>
            </a:r>
          </a:p>
          <a:p>
            <a:pPr marL="342900" marR="0" lvl="0" indent="-342900" algn="just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pt" sz="2000" kern="100" dirty="0">
                <a:ea typeface="Aptos" panose="020B0004020202020204" pitchFamily="34" charset="0"/>
                <a:cs typeface="Times New Roman" panose="02020603050405020304" pitchFamily="18" charset="0"/>
              </a:rPr>
              <a:t>Funcionários dos Ministérios das Finanças e da Economia</a:t>
            </a:r>
          </a:p>
          <a:p>
            <a:pPr marL="342900" marR="0" lvl="0" indent="-342900" algn="just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pt" sz="2000" kern="100" dirty="0">
                <a:ea typeface="Aptos" panose="020B0004020202020204" pitchFamily="34" charset="0"/>
                <a:cs typeface="Times New Roman" panose="02020603050405020304" pitchFamily="18" charset="0"/>
              </a:rPr>
              <a:t>DGASS, DSIVE, UGCP</a:t>
            </a:r>
          </a:p>
          <a:p>
            <a:pPr marL="342900" marR="0" lvl="0" indent="-342900" algn="just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pt" sz="2000" kern="100" dirty="0">
                <a:ea typeface="Aptos" panose="020B0004020202020204" pitchFamily="34" charset="0"/>
                <a:cs typeface="Times New Roman" panose="02020603050405020304" pitchFamily="18" charset="0"/>
              </a:rPr>
              <a:t>Diretores Regionais de Saúde</a:t>
            </a:r>
          </a:p>
          <a:p>
            <a:pPr marL="342900" marR="0" lvl="0" indent="-342900" algn="just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pt" sz="2000" kern="100" dirty="0">
                <a:ea typeface="Aptos" panose="020B0004020202020204" pitchFamily="34" charset="0"/>
                <a:cs typeface="Times New Roman" panose="02020603050405020304" pitchFamily="18" charset="0"/>
              </a:rPr>
              <a:t>Parceiros: OMS, UNICEF, Banco Mundial, Solina , Projeto Saúde Bandim</a:t>
            </a:r>
            <a:endParaRPr lang="fr-FR" sz="2000" kern="100" dirty="0"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lvl="0" indent="-342900" algn="just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pt" sz="2000" kern="100" dirty="0">
                <a:ea typeface="Aptos" panose="020B0004020202020204" pitchFamily="34" charset="0"/>
                <a:cs typeface="Times New Roman" panose="02020603050405020304" pitchFamily="18" charset="0"/>
              </a:rPr>
              <a:t>Sociedade Civil (OSC, ASC)</a:t>
            </a:r>
          </a:p>
          <a:p>
            <a:pPr marL="342900" marR="0" lvl="0" indent="-342900" algn="just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pt" sz="2000" kern="100" dirty="0">
                <a:ea typeface="Aptos" panose="020B0004020202020204" pitchFamily="34" charset="0"/>
                <a:cs typeface="Times New Roman" panose="02020603050405020304" pitchFamily="18" charset="0"/>
              </a:rPr>
              <a:t>Consultores e especialistas: AMP, MMGH, JSI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7DEE094-6B2C-85D8-E8E2-5AE77DE26EA2}"/>
              </a:ext>
            </a:extLst>
          </p:cNvPr>
          <p:cNvSpPr txBox="1">
            <a:spLocks/>
          </p:cNvSpPr>
          <p:nvPr/>
        </p:nvSpPr>
        <p:spPr>
          <a:xfrm>
            <a:off x="5424206" y="987618"/>
            <a:ext cx="6264872" cy="293057"/>
          </a:xfrm>
          <a:prstGeom prst="rect">
            <a:avLst/>
          </a:prstGeom>
        </p:spPr>
        <p:txBody>
          <a:bodyPr vert="horz" lIns="0" tIns="0" rIns="0" bIns="0" numCol="1" spcCol="180000" rtlCol="0">
            <a:normAutofit fontScale="92500"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0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 startAt="7"/>
              <a:tabLst>
                <a:tab pos="457200" algn="l"/>
              </a:tabLst>
            </a:pPr>
            <a:endParaRPr lang="en-US" dirty="0"/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E1A60187-F372-500E-16FF-EC6A3E69DB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</p:spPr>
        <p:txBody>
          <a:bodyPr/>
          <a:lstStyle/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4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5" name="Picture 4" descr="A group of people standing together outside&#10;&#10;Description automatically generated">
            <a:extLst>
              <a:ext uri="{FF2B5EF4-FFF2-40B4-BE49-F238E27FC236}">
                <a16:creationId xmlns:a16="http://schemas.microsoft.com/office/drawing/2014/main" id="{7DB9391C-E91A-52EF-919D-AAF320A417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00706" y="1821062"/>
            <a:ext cx="4644920" cy="3363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62412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433C0A-E2AD-F8B3-5ECD-CA14220CBA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12209-EE2B-E58D-4C36-0152E739AC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 fontScale="90000"/>
          </a:bodyPr>
          <a:lstStyle/>
          <a:p>
            <a:r>
              <a:rPr lang="pt" dirty="0"/>
              <a:t>Uma visita ao Centro Materno-Infantil (CMI) proporcionou uma melhor compreensão dos desafios no terreno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88A25C14-3230-BD6D-2222-9DF00E386ED6}"/>
              </a:ext>
            </a:extLst>
          </p:cNvPr>
          <p:cNvSpPr txBox="1">
            <a:spLocks/>
          </p:cNvSpPr>
          <p:nvPr/>
        </p:nvSpPr>
        <p:spPr>
          <a:xfrm>
            <a:off x="5424206" y="987618"/>
            <a:ext cx="6264872" cy="293057"/>
          </a:xfrm>
          <a:prstGeom prst="rect">
            <a:avLst/>
          </a:prstGeom>
        </p:spPr>
        <p:txBody>
          <a:bodyPr vert="horz" lIns="0" tIns="0" rIns="0" bIns="0" numCol="1" spcCol="180000" rtlCol="0">
            <a:normAutofit fontScale="92500"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0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 startAt="7"/>
              <a:tabLst>
                <a:tab pos="457200" algn="l"/>
              </a:tabLst>
            </a:pPr>
            <a:endParaRPr lang="en-US" dirty="0"/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3F998B47-8016-102B-6142-0A208F0F33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</p:spPr>
        <p:txBody>
          <a:bodyPr/>
          <a:lstStyle/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5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6" name="Picture 5" descr="A group of people standing around a table&#10;&#10;Description automatically generated">
            <a:extLst>
              <a:ext uri="{FF2B5EF4-FFF2-40B4-BE49-F238E27FC236}">
                <a16:creationId xmlns:a16="http://schemas.microsoft.com/office/drawing/2014/main" id="{387EE9C2-7A3C-D426-6B2D-5DA1F726AF9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1610546"/>
            <a:ext cx="4773888" cy="3580416"/>
          </a:xfrm>
          <a:prstGeom prst="rect">
            <a:avLst/>
          </a:prstGeom>
        </p:spPr>
      </p:pic>
      <p:pic>
        <p:nvPicPr>
          <p:cNvPr id="8" name="Picture 7" descr="A person holding a baby&#10;&#10;Description automatically generated">
            <a:extLst>
              <a:ext uri="{FF2B5EF4-FFF2-40B4-BE49-F238E27FC236}">
                <a16:creationId xmlns:a16="http://schemas.microsoft.com/office/drawing/2014/main" id="{FA37E65A-ADF2-D897-8F89-2E0440573DC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8444" y="1610546"/>
            <a:ext cx="4773887" cy="3580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07659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_title"/>
          <p:cNvSpPr>
            <a:spLocks noGrp="1"/>
          </p:cNvSpPr>
          <p:nvPr>
            <p:ph type="title"/>
          </p:nvPr>
        </p:nvSpPr>
        <p:spPr>
          <a:xfrm>
            <a:off x="515936" y="247398"/>
            <a:ext cx="11407839" cy="592778"/>
          </a:xfrm>
        </p:spPr>
        <p:txBody>
          <a:bodyPr/>
          <a:lstStyle/>
          <a:p>
            <a:r>
              <a:rPr lang="pt" dirty="0"/>
              <a:t>Desde 2000, a vacinação salvou cerca de 70.000 vidas na Guiné-Bissau</a:t>
            </a:r>
            <a:endParaRPr dirty="0"/>
          </a:p>
        </p:txBody>
      </p:sp>
      <p:sp>
        <p:nvSpPr>
          <p:cNvPr id="4" name="text_right"/>
          <p:cNvSpPr>
            <a:spLocks noGrp="1"/>
          </p:cNvSpPr>
          <p:nvPr>
            <p:ph type="body" idx="13"/>
          </p:nvPr>
        </p:nvSpPr>
        <p:spPr>
          <a:xfrm>
            <a:off x="7484991" y="804721"/>
            <a:ext cx="4523581" cy="5307695"/>
          </a:xfrm>
        </p:spPr>
        <p:txBody>
          <a:bodyPr/>
          <a:lstStyle/>
          <a:p>
            <a:pPr lvl="1"/>
            <a:r>
              <a:rPr lang="pt" sz="1600" dirty="0">
                <a:solidFill>
                  <a:srgbClr val="000000">
                    <a:alpha val="100000"/>
                  </a:srgbClr>
                </a:solidFill>
                <a:latin typeface="Arial"/>
                <a:cs typeface="Arial"/>
                <a:sym typeface="Arial"/>
              </a:rPr>
              <a:t>Entre 2000 e 2023, a imunização da podridão na Guiné-Bissau ajudará </a:t>
            </a:r>
            <a:r>
              <a:rPr lang="pt" sz="1600" b="1" dirty="0">
                <a:solidFill>
                  <a:srgbClr val="000000">
                    <a:alpha val="100000"/>
                  </a:srgbClr>
                </a:solidFill>
                <a:latin typeface="Arial"/>
                <a:cs typeface="Arial"/>
                <a:sym typeface="Arial"/>
              </a:rPr>
              <a:t>a prevenir 64 mil mortes futuras. </a:t>
            </a:r>
            <a:r>
              <a:rPr lang="pt" sz="1600" dirty="0">
                <a:solidFill>
                  <a:srgbClr val="000000">
                    <a:alpha val="100000"/>
                  </a:srgbClr>
                </a:solidFill>
                <a:latin typeface="Arial"/>
                <a:cs typeface="Arial"/>
                <a:sym typeface="Arial"/>
              </a:rPr>
              <a:t>Vídeos em 4k aumentam o tempo durante as campanhas de vacinação (principalmente não graficamente). </a:t>
            </a:r>
            <a:r>
              <a:rPr lang="pt" sz="1600" b="1" dirty="0">
                <a:solidFill>
                  <a:srgbClr val="000000">
                    <a:alpha val="100000"/>
                  </a:srgbClr>
                </a:solidFill>
                <a:latin typeface="Arial"/>
                <a:cs typeface="Arial"/>
                <a:sym typeface="Arial"/>
              </a:rPr>
              <a:t>6 mil vidas adicionais salvas se </a:t>
            </a:r>
            <a:r>
              <a:rPr lang="pt" sz="1600" dirty="0">
                <a:solidFill>
                  <a:srgbClr val="000000">
                    <a:alpha val="100000"/>
                  </a:srgbClr>
                </a:solidFill>
                <a:latin typeface="Arial"/>
                <a:cs typeface="Arial"/>
                <a:sym typeface="Arial"/>
              </a:rPr>
              <a:t>a cobertura de rotina de 2023 para mantida até 2025). A partir de 2000, afetou principalmente as vacinas de rotina </a:t>
            </a:r>
            <a:r>
              <a:rPr lang="pt" sz="1600" b="1" dirty="0">
                <a:solidFill>
                  <a:srgbClr val="000000">
                    <a:alpha val="100000"/>
                  </a:srgbClr>
                </a:solidFill>
                <a:latin typeface="Arial"/>
                <a:cs typeface="Arial"/>
                <a:sym typeface="Arial"/>
              </a:rPr>
              <a:t>contra Sarampo (33k), Penta (24k) e Febre Amarela (6k). </a:t>
            </a:r>
            <a:r>
              <a:rPr lang="pt" sz="1600" dirty="0">
                <a:solidFill>
                  <a:srgbClr val="000000">
                    <a:alpha val="100000"/>
                  </a:srgbClr>
                </a:solidFill>
                <a:latin typeface="Arial"/>
                <a:cs typeface="Arial"/>
                <a:sym typeface="Arial"/>
              </a:rPr>
              <a:t>Em 2020-2025, o impacto será também nas </a:t>
            </a:r>
            <a:r>
              <a:rPr lang="pt" sz="1600" b="1" dirty="0">
                <a:solidFill>
                  <a:srgbClr val="000000">
                    <a:alpha val="100000"/>
                  </a:srgbClr>
                </a:solidFill>
                <a:latin typeface="Arial"/>
                <a:cs typeface="Arial"/>
                <a:sym typeface="Arial"/>
              </a:rPr>
              <a:t>vacinas PCV (634) e Rota (357). </a:t>
            </a:r>
            <a:r>
              <a:rPr lang="pt" sz="1600" dirty="0">
                <a:solidFill>
                  <a:srgbClr val="000000">
                    <a:alpha val="100000"/>
                  </a:srgbClr>
                </a:solidFill>
                <a:latin typeface="Arial"/>
                <a:cs typeface="Arial"/>
                <a:sym typeface="Arial"/>
              </a:rPr>
              <a:t>O número de vacinas que contribuem para o impacto (sem análise) aumenta de 2 para 7.</a:t>
            </a:r>
            <a:endParaRPr sz="1600" b="0" i="0" u="none" cap="none" dirty="0">
              <a:solidFill>
                <a:srgbClr val="000000">
                  <a:alpha val="100000"/>
                </a:srgb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" name="footer"/>
          <p:cNvSpPr>
            <a:spLocks noGrp="1"/>
          </p:cNvSpPr>
          <p:nvPr>
            <p:ph type="body" sz="quarter" idx="15"/>
          </p:nvPr>
        </p:nvSpPr>
        <p:spPr>
          <a:xfrm>
            <a:off x="777567" y="6340410"/>
            <a:ext cx="9758161" cy="376238"/>
          </a:xfrm>
        </p:spPr>
        <p:txBody>
          <a:bodyPr/>
          <a:lstStyle/>
          <a:p>
            <a:pPr marL="0" marR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sz="1200" b="0" i="0" u="none" cap="none">
                <a:solidFill>
                  <a:srgbClr val="000000">
                    <a:alpha val="100000"/>
                  </a:srgbClr>
                </a:solidFill>
                <a:latin typeface="Arial"/>
                <a:cs typeface="Arial"/>
                <a:sym typeface="Arial"/>
              </a:rPr>
              <a:t>Observe que esta análise exclui IPV, poliomielite e BCG. Consulte o apêndice para obter mais informações sobre a metodologia</a:t>
            </a:r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0E224253-B050-9B67-04AA-6392F47DA4AB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3"/>
          <a:stretch>
            <a:fillRect/>
          </a:stretch>
        </p:blipFill>
        <p:spPr>
          <a:xfrm>
            <a:off x="270124" y="926418"/>
            <a:ext cx="7014692" cy="5307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85352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E94472-5A4F-E29B-23FE-B6D4FD876A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3EA6C5-0130-8868-613D-D747E40154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 fontScale="90000"/>
          </a:bodyPr>
          <a:lstStyle/>
          <a:p>
            <a:r>
              <a:rPr lang="pt" dirty="0"/>
              <a:t>A cobertura vacinal se recuperou após a Covid-19, mas há uma grande lacuna entre os dados administrativos e as pesquisa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94EF4483-C76C-40FB-9B57-67B688531FBD}"/>
              </a:ext>
            </a:extLst>
          </p:cNvPr>
          <p:cNvSpPr txBox="1">
            <a:spLocks/>
          </p:cNvSpPr>
          <p:nvPr/>
        </p:nvSpPr>
        <p:spPr>
          <a:xfrm>
            <a:off x="5424206" y="987618"/>
            <a:ext cx="6264872" cy="293057"/>
          </a:xfrm>
          <a:prstGeom prst="rect">
            <a:avLst/>
          </a:prstGeom>
        </p:spPr>
        <p:txBody>
          <a:bodyPr vert="horz" lIns="0" tIns="0" rIns="0" bIns="0" numCol="1" spcCol="180000" rtlCol="0">
            <a:normAutofit fontScale="92500"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0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 startAt="7"/>
              <a:tabLst>
                <a:tab pos="457200" algn="l"/>
              </a:tabLst>
            </a:pPr>
            <a:endParaRPr lang="en-US" dirty="0"/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59B63491-476E-3B1F-B4AD-3347404163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</p:spPr>
        <p:txBody>
          <a:bodyPr/>
          <a:lstStyle/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7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10" name="Content Placeholder 6">
            <a:extLst>
              <a:ext uri="{FF2B5EF4-FFF2-40B4-BE49-F238E27FC236}">
                <a16:creationId xmlns:a16="http://schemas.microsoft.com/office/drawing/2014/main" id="{09216F39-8E6C-BE0E-2AC0-EE3808538C8E}"/>
              </a:ext>
            </a:extLst>
          </p:cNvPr>
          <p:cNvPicPr>
            <a:picLocks noGrp="1"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3166" y="1306889"/>
            <a:ext cx="5032203" cy="415572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85998CF-8EDC-8CBE-CCB1-18738586AFF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06767" y="1280711"/>
            <a:ext cx="4611807" cy="4182801"/>
          </a:xfrm>
          <a:prstGeom prst="rect">
            <a:avLst/>
          </a:prstGeom>
        </p:spPr>
      </p:pic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6210C6B2-8F3C-88A2-F233-71DBE8FD2A43}"/>
              </a:ext>
            </a:extLst>
          </p:cNvPr>
          <p:cNvSpPr txBox="1">
            <a:spLocks/>
          </p:cNvSpPr>
          <p:nvPr/>
        </p:nvSpPr>
        <p:spPr>
          <a:xfrm>
            <a:off x="699761" y="5554871"/>
            <a:ext cx="10717539" cy="1166602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numCol="1" spcCol="180000" rtlCol="0">
            <a:normAutofit fontScale="85000" lnSpcReduction="20000"/>
          </a:bodyPr>
          <a:lstStyle>
            <a:lvl1pPr marL="342900" indent="-3429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7000"/>
              </a:lnSpc>
              <a:buClr>
                <a:srgbClr val="C00000"/>
              </a:buClr>
              <a:buSzPct val="125000"/>
              <a:buFont typeface="Arial" panose="020B0604020202020204" pitchFamily="34" charset="0"/>
              <a:buChar char="!"/>
            </a:pPr>
            <a:r>
              <a:rPr lang="pt" sz="2000" b="1" kern="100" dirty="0">
                <a:solidFill>
                  <a:srgbClr val="C00000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Necessidade de analisar e compreender melhor as discrepâncias entre os dados administrativos e as pesquisas</a:t>
            </a:r>
          </a:p>
          <a:p>
            <a:pPr>
              <a:lnSpc>
                <a:spcPct val="107000"/>
              </a:lnSpc>
              <a:buClr>
                <a:srgbClr val="C00000"/>
              </a:buClr>
              <a:buSzPct val="125000"/>
              <a:buFont typeface="Arial" panose="020B0604020202020204" pitchFamily="34" charset="0"/>
              <a:buChar char="!"/>
            </a:pPr>
            <a:r>
              <a:rPr lang="pt" sz="2000" b="1" kern="100" dirty="0">
                <a:solidFill>
                  <a:srgbClr val="C00000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Denominador errado: enumeração sistemática de crianças pelos ACS; Projeção BCG</a:t>
            </a:r>
          </a:p>
          <a:p>
            <a:pPr>
              <a:lnSpc>
                <a:spcPct val="107000"/>
              </a:lnSpc>
              <a:buClr>
                <a:srgbClr val="C00000"/>
              </a:buClr>
              <a:buSzPct val="125000"/>
              <a:buFont typeface="Arial" panose="020B0604020202020204" pitchFamily="34" charset="0"/>
              <a:buChar char="!"/>
            </a:pPr>
            <a:r>
              <a:rPr lang="pt" sz="2000" b="1" kern="100" dirty="0">
                <a:solidFill>
                  <a:srgbClr val="C00000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Numerador: fortalecimento da qualidade dos dados, por exemplo através de LQAS</a:t>
            </a:r>
          </a:p>
          <a:p>
            <a:pPr>
              <a:lnSpc>
                <a:spcPct val="107000"/>
              </a:lnSpc>
              <a:buClr>
                <a:srgbClr val="C00000"/>
              </a:buClr>
              <a:buSzPct val="125000"/>
              <a:buFont typeface="Arial" panose="020B0604020202020204" pitchFamily="34" charset="0"/>
              <a:buChar char="!"/>
            </a:pPr>
            <a:endParaRPr lang="fr-FR" sz="2000" b="1" kern="100" dirty="0">
              <a:solidFill>
                <a:srgbClr val="C00000"/>
              </a:solidFill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buClr>
                <a:srgbClr val="C00000"/>
              </a:buClr>
              <a:buSzPct val="125000"/>
              <a:buFont typeface="Symbol" panose="05050102010706020507" pitchFamily="18" charset="2"/>
              <a:buChar char=""/>
            </a:pPr>
            <a:endParaRPr lang="fr-FR" sz="2000" kern="100" dirty="0">
              <a:solidFill>
                <a:srgbClr val="C00000"/>
              </a:solidFill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6805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E687C8-6785-5B7E-BA2E-034F5F2721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FF870D-933C-59E9-0BE2-C7F72730BC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 fontScale="90000"/>
          </a:bodyPr>
          <a:lstStyle/>
          <a:p>
            <a:r>
              <a:rPr lang="pt" dirty="0"/>
              <a:t>O PAV atinge 95% das crianças mas a taxa de abandono continua elevada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19021FD7-144B-4BDD-9BDA-7077A1F2B0EE}"/>
              </a:ext>
            </a:extLst>
          </p:cNvPr>
          <p:cNvSpPr txBox="1">
            <a:spLocks/>
          </p:cNvSpPr>
          <p:nvPr/>
        </p:nvSpPr>
        <p:spPr>
          <a:xfrm>
            <a:off x="515937" y="1446034"/>
            <a:ext cx="8257002" cy="293057"/>
          </a:xfrm>
          <a:prstGeom prst="rect">
            <a:avLst/>
          </a:prstGeom>
        </p:spPr>
        <p:txBody>
          <a:bodyPr vert="horz" lIns="0" tIns="0" rIns="0" bIns="0" numCol="1" spcCol="18000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0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7000"/>
              </a:lnSpc>
              <a:spcAft>
                <a:spcPts val="800"/>
              </a:spcAft>
              <a:tabLst>
                <a:tab pos="457200" algn="l"/>
              </a:tabLst>
            </a:pPr>
            <a:r>
              <a:rPr lang="pt" sz="1800" b="1" i="1" dirty="0"/>
              <a:t>Cobertura vacinal, % de crianças de 12 a 23 meses (mapa/histórico)</a:t>
            </a:r>
            <a:endParaRPr lang="en-US" sz="1800" b="1" i="1" dirty="0"/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07D9F802-9FC8-D747-7A18-9611FEA260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</p:spPr>
        <p:txBody>
          <a:bodyPr/>
          <a:lstStyle/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8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aphicFrame>
        <p:nvGraphicFramePr>
          <p:cNvPr id="27" name="Chart 26">
            <a:extLst>
              <a:ext uri="{FF2B5EF4-FFF2-40B4-BE49-F238E27FC236}">
                <a16:creationId xmlns:a16="http://schemas.microsoft.com/office/drawing/2014/main" id="{2E204D12-A827-CDA1-C358-F9100ED6799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91150429"/>
              </p:ext>
            </p:extLst>
          </p:nvPr>
        </p:nvGraphicFramePr>
        <p:xfrm>
          <a:off x="515937" y="1802297"/>
          <a:ext cx="8257002" cy="38431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77DB08E1-AC95-22BF-5984-6F8DC5E32947}"/>
              </a:ext>
            </a:extLst>
          </p:cNvPr>
          <p:cNvSpPr txBox="1">
            <a:spLocks/>
          </p:cNvSpPr>
          <p:nvPr/>
        </p:nvSpPr>
        <p:spPr>
          <a:xfrm>
            <a:off x="515937" y="5885886"/>
            <a:ext cx="6264872" cy="293057"/>
          </a:xfrm>
          <a:prstGeom prst="rect">
            <a:avLst/>
          </a:prstGeom>
        </p:spPr>
        <p:txBody>
          <a:bodyPr vert="horz" lIns="0" tIns="0" rIns="0" bIns="0" numCol="1" spcCol="180000" rtlCol="0">
            <a:normAutofit fontScale="92500"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0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7000"/>
              </a:lnSpc>
              <a:spcAft>
                <a:spcPts val="800"/>
              </a:spcAft>
              <a:tabLst>
                <a:tab pos="457200" algn="l"/>
              </a:tabLst>
            </a:pPr>
            <a:r>
              <a:rPr lang="pt" dirty="0"/>
              <a:t>Fonte: Projeto Saúde Bandim, 2024</a:t>
            </a:r>
            <a:endParaRPr lang="en-US" dirty="0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FC8FC70B-E144-6D52-7FCA-341979F38E91}"/>
              </a:ext>
            </a:extLst>
          </p:cNvPr>
          <p:cNvSpPr txBox="1">
            <a:spLocks/>
          </p:cNvSpPr>
          <p:nvPr/>
        </p:nvSpPr>
        <p:spPr>
          <a:xfrm>
            <a:off x="8946263" y="2470884"/>
            <a:ext cx="2914433" cy="2896246"/>
          </a:xfrm>
          <a:prstGeom prst="rect">
            <a:avLst/>
          </a:prstGeom>
        </p:spPr>
        <p:txBody>
          <a:bodyPr vert="horz" lIns="0" tIns="0" rIns="0" bIns="0" numCol="1" spcCol="180000" rtlCol="0">
            <a:normAutofit/>
          </a:bodyPr>
          <a:lstStyle>
            <a:lvl1pPr marL="342900" indent="-3429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7000"/>
              </a:lnSpc>
              <a:buClr>
                <a:srgbClr val="C00000"/>
              </a:buClr>
              <a:buSzPct val="125000"/>
              <a:buFont typeface="Arial" panose="020B0604020202020204" pitchFamily="34" charset="0"/>
              <a:buChar char="!"/>
            </a:pPr>
            <a:r>
              <a:rPr lang="pt" sz="2000" b="1" kern="100" dirty="0">
                <a:solidFill>
                  <a:srgbClr val="C00000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Importância de compreender melhor as principais causas da taxa de abandono (por exemplo, deficiências na prestação de serviços e na saúde comunitária)</a:t>
            </a:r>
          </a:p>
          <a:p>
            <a:pPr>
              <a:lnSpc>
                <a:spcPct val="107000"/>
              </a:lnSpc>
              <a:buClr>
                <a:srgbClr val="C00000"/>
              </a:buClr>
              <a:buSzPct val="125000"/>
              <a:buFont typeface="Symbol" panose="05050102010706020507" pitchFamily="18" charset="2"/>
              <a:buChar char=""/>
            </a:pPr>
            <a:endParaRPr lang="fr-FR" sz="2000" kern="100" dirty="0">
              <a:solidFill>
                <a:srgbClr val="C00000"/>
              </a:solidFill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26002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237189-0A99-2CE9-C226-574E11F6F0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FDE6A5-C20C-5164-4F7B-F01FD9EF58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 fontScale="90000"/>
          </a:bodyPr>
          <a:lstStyle/>
          <a:p>
            <a:r>
              <a:rPr lang="pt" dirty="0"/>
              <a:t>Um ano movimentado pela frente, exigindo um bom planeamento, priorização e exploração de sinergia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7E581F04-ECDB-0D86-7D0B-1FAF6968DB39}"/>
              </a:ext>
            </a:extLst>
          </p:cNvPr>
          <p:cNvSpPr txBox="1">
            <a:spLocks/>
          </p:cNvSpPr>
          <p:nvPr/>
        </p:nvSpPr>
        <p:spPr>
          <a:xfrm>
            <a:off x="5424206" y="987618"/>
            <a:ext cx="6264872" cy="293057"/>
          </a:xfrm>
          <a:prstGeom prst="rect">
            <a:avLst/>
          </a:prstGeom>
        </p:spPr>
        <p:txBody>
          <a:bodyPr vert="horz" lIns="0" tIns="0" rIns="0" bIns="0" numCol="1" spcCol="180000" rtlCol="0">
            <a:normAutofit fontScale="92500"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0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 startAt="7"/>
              <a:tabLst>
                <a:tab pos="457200" algn="l"/>
              </a:tabLst>
            </a:pPr>
            <a:endParaRPr lang="en-US" dirty="0"/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453F704D-F1E5-5DDD-C7B6-97EF9348CB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</p:spPr>
        <p:txBody>
          <a:bodyPr/>
          <a:lstStyle/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9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1527EF7-1955-23D1-1B63-2E92C8ACC531}"/>
              </a:ext>
            </a:extLst>
          </p:cNvPr>
          <p:cNvSpPr txBox="1"/>
          <p:nvPr/>
        </p:nvSpPr>
        <p:spPr>
          <a:xfrm>
            <a:off x="540966" y="1497495"/>
            <a:ext cx="4970226" cy="45550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  <a:buClr>
                <a:schemeClr val="bg2"/>
              </a:buClr>
            </a:pPr>
            <a:r>
              <a:rPr lang="pt" sz="2000" b="1" dirty="0">
                <a:solidFill>
                  <a:schemeClr val="bg2"/>
                </a:solidFill>
              </a:rPr>
              <a:t>O</a:t>
            </a:r>
            <a:r>
              <a:rPr lang="pt" sz="2000" b="1" dirty="0"/>
              <a:t> </a:t>
            </a:r>
            <a:r>
              <a:rPr lang="pt" sz="2000" b="1" dirty="0">
                <a:solidFill>
                  <a:schemeClr val="bg2"/>
                </a:solidFill>
              </a:rPr>
              <a:t>O plano anual do PAV é muito ambicioso:</a:t>
            </a:r>
          </a:p>
          <a:p>
            <a:pPr marL="285750" indent="-285750">
              <a:spcBef>
                <a:spcPts val="6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endParaRPr lang="de-CH" sz="1000" dirty="0">
              <a:solidFill>
                <a:schemeClr val="bg2"/>
              </a:solidFill>
            </a:endParaRPr>
          </a:p>
          <a:p>
            <a:pPr marL="285750" indent="-285750">
              <a:spcBef>
                <a:spcPts val="6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pt" sz="2000" dirty="0"/>
              <a:t>O PTA 2025 aprovado pelo PEV contém </a:t>
            </a:r>
            <a:r>
              <a:rPr lang="pt" sz="2000" b="1" dirty="0"/>
              <a:t>82 atividades </a:t>
            </a:r>
            <a:r>
              <a:rPr lang="pt" sz="2000" dirty="0"/>
              <a:t>no </a:t>
            </a:r>
            <a:r>
              <a:rPr lang="pt" sz="2000" b="1" dirty="0"/>
              <a:t>valor total de US$ 8,9 milhões</a:t>
            </a:r>
          </a:p>
          <a:p>
            <a:pPr marL="285750" indent="-285750">
              <a:spcBef>
                <a:spcPts val="6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pt" sz="2000" dirty="0"/>
              <a:t>Várias atividades importantes planejadas para 2025</a:t>
            </a:r>
          </a:p>
          <a:p>
            <a:pPr marL="742950" lvl="1" indent="-285750">
              <a:spcBef>
                <a:spcPts val="6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pt" sz="2000" dirty="0"/>
              <a:t>Fortalecendo a </a:t>
            </a:r>
            <a:r>
              <a:rPr lang="pt" sz="2000" b="1" dirty="0"/>
              <a:t>vacinação de rotina</a:t>
            </a:r>
          </a:p>
          <a:p>
            <a:pPr marL="742950" lvl="1" indent="-285750">
              <a:spcBef>
                <a:spcPts val="6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pt" sz="2000" b="1" dirty="0"/>
              <a:t>Introdução de </a:t>
            </a:r>
            <a:r>
              <a:rPr lang="pt" sz="2000" b="1" dirty="0" err="1"/>
              <a:t>vacinas</a:t>
            </a:r>
            <a:r>
              <a:rPr lang="pt" sz="2000" b="1" dirty="0"/>
              <a:t> </a:t>
            </a:r>
            <a:r>
              <a:rPr lang="pt" sz="2000" dirty="0"/>
              <a:t>RR e malária</a:t>
            </a:r>
          </a:p>
          <a:p>
            <a:pPr marL="742950" lvl="1" indent="-285750">
              <a:spcBef>
                <a:spcPts val="6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pt" sz="2000" b="1" dirty="0"/>
              <a:t>B</a:t>
            </a:r>
            <a:r>
              <a:rPr lang="en-US" sz="2000" b="1" dirty="0" err="1"/>
              <a:t>i</a:t>
            </a:r>
            <a:r>
              <a:rPr lang="pt" sz="2000" b="1" dirty="0"/>
              <a:t>g Catch-up</a:t>
            </a:r>
            <a:endParaRPr lang="en-US" sz="2000" b="1" dirty="0"/>
          </a:p>
          <a:p>
            <a:pPr marL="742950" lvl="1" indent="-285750">
              <a:spcBef>
                <a:spcPts val="6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pt" sz="2000" b="1" dirty="0"/>
              <a:t>Campanha </a:t>
            </a:r>
            <a:r>
              <a:rPr lang="pt" sz="2000" dirty="0" err="1"/>
              <a:t>nacional</a:t>
            </a:r>
            <a:r>
              <a:rPr lang="pt" sz="2000" b="1" dirty="0"/>
              <a:t> </a:t>
            </a:r>
            <a:r>
              <a:rPr lang="pt" sz="2000" b="1" dirty="0" err="1"/>
              <a:t>febre </a:t>
            </a:r>
            <a:r>
              <a:rPr lang="pt" sz="2000" b="1" dirty="0"/>
              <a:t>amarela</a:t>
            </a:r>
          </a:p>
          <a:p>
            <a:pPr marL="285750" indent="-285750">
              <a:spcBef>
                <a:spcPts val="6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pt" sz="2000" dirty="0"/>
              <a:t>Além disso, </a:t>
            </a:r>
            <a:r>
              <a:rPr lang="pt" sz="2000" b="1" dirty="0"/>
              <a:t>o planejamento do novo </a:t>
            </a:r>
            <a:r>
              <a:rPr lang="pt" sz="2000" b="1" dirty="0" err="1"/>
              <a:t>portfólio</a:t>
            </a:r>
            <a:r>
              <a:rPr lang="pt" sz="2000" b="1" dirty="0"/>
              <a:t> </a:t>
            </a:r>
            <a:r>
              <a:rPr lang="pt" sz="2000" dirty="0"/>
              <a:t>e </a:t>
            </a:r>
            <a:r>
              <a:rPr lang="pt" sz="2000" b="1" dirty="0" err="1"/>
              <a:t>a auditoria </a:t>
            </a:r>
            <a:r>
              <a:rPr lang="pt" sz="2000" dirty="0"/>
              <a:t>Gavi </a:t>
            </a:r>
            <a:r>
              <a:rPr lang="pt" sz="2000" dirty="0" err="1"/>
              <a:t>são</a:t>
            </a:r>
            <a:r>
              <a:rPr lang="pt" sz="2000" dirty="0"/>
              <a:t> </a:t>
            </a:r>
            <a:r>
              <a:rPr lang="pt" sz="2000" dirty="0" err="1"/>
              <a:t>agendado</a:t>
            </a:r>
            <a:endParaRPr lang="en-US" sz="20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349E30A-DD03-AB7C-5670-E3BB0446219E}"/>
              </a:ext>
            </a:extLst>
          </p:cNvPr>
          <p:cNvSpPr txBox="1"/>
          <p:nvPr/>
        </p:nvSpPr>
        <p:spPr>
          <a:xfrm>
            <a:off x="6351876" y="1497495"/>
            <a:ext cx="5337203" cy="46320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  <a:buClr>
                <a:schemeClr val="bg2"/>
              </a:buClr>
            </a:pPr>
            <a:r>
              <a:rPr lang="pt" sz="2000" b="1" dirty="0">
                <a:solidFill>
                  <a:schemeClr val="bg2"/>
                </a:solidFill>
              </a:rPr>
              <a:t>Recomendações para o PTA 2025:</a:t>
            </a:r>
          </a:p>
          <a:p>
            <a:pPr marL="285750" indent="-285750">
              <a:spcBef>
                <a:spcPts val="6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endParaRPr lang="de-CH" sz="1000" dirty="0">
              <a:solidFill>
                <a:schemeClr val="bg2"/>
              </a:solidFill>
            </a:endParaRPr>
          </a:p>
          <a:p>
            <a:pPr marL="285750" indent="-285750">
              <a:spcBef>
                <a:spcPts val="6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pt" sz="2000" b="1" dirty="0"/>
              <a:t>Integração </a:t>
            </a:r>
            <a:r>
              <a:rPr lang="pt" sz="2000" dirty="0"/>
              <a:t>das atividades de vacinação, nomeadamente a campanha contra a febre amarela e o Big Catch-up</a:t>
            </a:r>
          </a:p>
          <a:p>
            <a:pPr marL="285750" indent="-285750">
              <a:spcBef>
                <a:spcPts val="6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pt" sz="2000" b="1" dirty="0"/>
              <a:t>Priorização </a:t>
            </a:r>
            <a:r>
              <a:rPr lang="pt" sz="2000" dirty="0"/>
              <a:t>de atividades para garantir a implementação das atividades importantes -&gt; possibilidade de adiar alguns atividades até 2026</a:t>
            </a:r>
          </a:p>
          <a:p>
            <a:pPr marL="285750" indent="-285750">
              <a:spcBef>
                <a:spcPts val="6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pt" sz="2000" b="1" dirty="0"/>
              <a:t>Diferenciação </a:t>
            </a:r>
            <a:r>
              <a:rPr lang="pt" sz="2000" dirty="0"/>
              <a:t>de estrategias / abordagens</a:t>
            </a:r>
            <a:endParaRPr lang="en-US" sz="2000" dirty="0"/>
          </a:p>
          <a:p>
            <a:pPr marL="285750" indent="-285750">
              <a:spcBef>
                <a:spcPts val="6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pt" sz="2000" b="1" dirty="0"/>
              <a:t>Divisão de trabalho: </a:t>
            </a:r>
            <a:r>
              <a:rPr lang="pt" sz="2000" dirty="0"/>
              <a:t>Para gerenciar a carga de trabalho , equipes de EPI e assistência de parceiros deve dividir em atividades paralelas lideradas por grupos restritos</a:t>
            </a:r>
            <a:endParaRPr lang="en-US" sz="2000" dirty="0"/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0D5C73FC-A6BD-FCDC-05D6-3873FA07F9B1}"/>
              </a:ext>
            </a:extLst>
          </p:cNvPr>
          <p:cNvSpPr/>
          <p:nvPr/>
        </p:nvSpPr>
        <p:spPr>
          <a:xfrm rot="5400000">
            <a:off x="3738299" y="3610577"/>
            <a:ext cx="4386470" cy="328931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66641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3XEMA8g7sO1JvhBue1j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JZYiK81Dqg3AKqhPXmQ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Ti586bxaRXNGLyq6cjUQ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DxEIFDMpZ7XFucXEwcQ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pk7TYHRxaIHe6.SUx9jg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0evTD9FXplcSqw.av8MA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4BZlnvKEO9ZCIa9.28.w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JZYiK81Dqg3AKqhPXmQ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Ti586bxaRXNGLyq6cjUQ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DxEIFDMpZ7XFucXEwcQ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pk7TYHRxaIHe6.SUx9jg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0evTD9FXplcSqw.av8MA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4BZlnvKEO9ZCIa9.28.w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heme/theme1.xml><?xml version="1.0" encoding="utf-8"?>
<a:theme xmlns:a="http://schemas.openxmlformats.org/drawingml/2006/main" name="Gavi – Titles, Sections, End Slides">
  <a:themeElements>
    <a:clrScheme name="Gavi Palette 1">
      <a:dk1>
        <a:srgbClr val="000000"/>
      </a:dk1>
      <a:lt1>
        <a:srgbClr val="FFFFFF"/>
      </a:lt1>
      <a:dk2>
        <a:srgbClr val="005CB9"/>
      </a:dk2>
      <a:lt2>
        <a:srgbClr val="00A1DF"/>
      </a:lt2>
      <a:accent1>
        <a:srgbClr val="83BD00"/>
      </a:accent1>
      <a:accent2>
        <a:srgbClr val="3E9B6E"/>
      </a:accent2>
      <a:accent3>
        <a:srgbClr val="E24A3F"/>
      </a:accent3>
      <a:accent4>
        <a:srgbClr val="FA7650"/>
      </a:accent4>
      <a:accent5>
        <a:srgbClr val="F8A623"/>
      </a:accent5>
      <a:accent6>
        <a:srgbClr val="FED141"/>
      </a:accent6>
      <a:hlink>
        <a:srgbClr val="00A1DF"/>
      </a:hlink>
      <a:folHlink>
        <a:srgbClr val="005CB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AVI_PPT_Full template" id="{99C43E16-FF9C-1849-AF03-F58742B6D3E6}" vid="{2B276190-5DD2-7F4B-9F0E-8F3BFCF15372}"/>
    </a:ext>
  </a:extLst>
</a:theme>
</file>

<file path=ppt/theme/theme2.xml><?xml version="1.0" encoding="utf-8"?>
<a:theme xmlns:a="http://schemas.openxmlformats.org/drawingml/2006/main" name="Gavi – Body Slides">
  <a:themeElements>
    <a:clrScheme name="Gavi Palette 1">
      <a:dk1>
        <a:srgbClr val="000000"/>
      </a:dk1>
      <a:lt1>
        <a:srgbClr val="FFFFFF"/>
      </a:lt1>
      <a:dk2>
        <a:srgbClr val="005CB9"/>
      </a:dk2>
      <a:lt2>
        <a:srgbClr val="00A1DF"/>
      </a:lt2>
      <a:accent1>
        <a:srgbClr val="83BD00"/>
      </a:accent1>
      <a:accent2>
        <a:srgbClr val="3E9B6E"/>
      </a:accent2>
      <a:accent3>
        <a:srgbClr val="E24A3F"/>
      </a:accent3>
      <a:accent4>
        <a:srgbClr val="FA7650"/>
      </a:accent4>
      <a:accent5>
        <a:srgbClr val="F8A623"/>
      </a:accent5>
      <a:accent6>
        <a:srgbClr val="FED141"/>
      </a:accent6>
      <a:hlink>
        <a:srgbClr val="00A1DF"/>
      </a:hlink>
      <a:folHlink>
        <a:srgbClr val="005CB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AVI_PPT_Full template" id="{99C43E16-FF9C-1849-AF03-F58742B6D3E6}" vid="{2567E646-D828-574A-82B0-C553FAD81028}"/>
    </a:ext>
  </a:extLst>
</a:theme>
</file>

<file path=ppt/theme/theme3.xml><?xml version="1.0" encoding="utf-8"?>
<a:theme xmlns:a="http://schemas.openxmlformats.org/drawingml/2006/main" name="Covax Grid 16:9 - 15334">
  <a:themeElements>
    <a:clrScheme name="Custom 3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82F3B"/>
      </a:accent1>
      <a:accent2>
        <a:srgbClr val="1B9EC7"/>
      </a:accent2>
      <a:accent3>
        <a:srgbClr val="E91F50"/>
      </a:accent3>
      <a:accent4>
        <a:srgbClr val="E6D2C8"/>
      </a:accent4>
      <a:accent5>
        <a:srgbClr val="AFAFAF"/>
      </a:accent5>
      <a:accent6>
        <a:srgbClr val="D5D5D5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82F3B"/>
        </a:solidFill>
        <a:ln w="6350" cap="sq">
          <a:solidFill>
            <a:srgbClr val="082F3B"/>
          </a:solidFill>
          <a:miter lim="800000"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82F3B"/>
        </a:accent1>
        <a:accent2>
          <a:srgbClr val="1B9EC7"/>
        </a:accent2>
        <a:accent3>
          <a:srgbClr val="E91F50"/>
        </a:accent3>
        <a:accent4>
          <a:srgbClr val="E6D2C8"/>
        </a:accent4>
        <a:accent5>
          <a:srgbClr val="AFAFAF"/>
        </a:accent5>
        <a:accent6>
          <a:srgbClr val="D5D5D5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Updated COVAX Template March 2021 (1).pptx" id="{F348229A-9FA4-43C5-85F8-9101999278EC}" vid="{FC236EB0-4008-4CB1-84A9-19D0BB3AC66B}"/>
    </a:ext>
  </a:extLst>
</a:theme>
</file>

<file path=ppt/theme/theme4.xml><?xml version="1.0" encoding="utf-8"?>
<a:theme xmlns:a="http://schemas.openxmlformats.org/drawingml/2006/main" name="1_Gavi – Body Slides">
  <a:themeElements>
    <a:clrScheme name="Gavi Palette 1">
      <a:dk1>
        <a:srgbClr val="000000"/>
      </a:dk1>
      <a:lt1>
        <a:srgbClr val="FFFFFF"/>
      </a:lt1>
      <a:dk2>
        <a:srgbClr val="005CB9"/>
      </a:dk2>
      <a:lt2>
        <a:srgbClr val="00A1DF"/>
      </a:lt2>
      <a:accent1>
        <a:srgbClr val="83BD00"/>
      </a:accent1>
      <a:accent2>
        <a:srgbClr val="3E9B6E"/>
      </a:accent2>
      <a:accent3>
        <a:srgbClr val="E24A3F"/>
      </a:accent3>
      <a:accent4>
        <a:srgbClr val="FA7650"/>
      </a:accent4>
      <a:accent5>
        <a:srgbClr val="F8A623"/>
      </a:accent5>
      <a:accent6>
        <a:srgbClr val="FED141"/>
      </a:accent6>
      <a:hlink>
        <a:srgbClr val="00A1DF"/>
      </a:hlink>
      <a:folHlink>
        <a:srgbClr val="005CB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AVI_PPT_Full template" id="{99C43E16-FF9C-1849-AF03-F58742B6D3E6}" vid="{2567E646-D828-574A-82B0-C553FAD81028}"/>
    </a:ext>
  </a:extLst>
</a:theme>
</file>

<file path=ppt/theme/theme5.xml><?xml version="1.0" encoding="utf-8"?>
<a:theme xmlns:a="http://schemas.openxmlformats.org/drawingml/2006/main" name="2_Gavi – Body Slides">
  <a:themeElements>
    <a:clrScheme name="Gavi Palette 1">
      <a:dk1>
        <a:srgbClr val="000000"/>
      </a:dk1>
      <a:lt1>
        <a:srgbClr val="FFFFFF"/>
      </a:lt1>
      <a:dk2>
        <a:srgbClr val="005CB9"/>
      </a:dk2>
      <a:lt2>
        <a:srgbClr val="00A1DF"/>
      </a:lt2>
      <a:accent1>
        <a:srgbClr val="83BD00"/>
      </a:accent1>
      <a:accent2>
        <a:srgbClr val="3E9B6E"/>
      </a:accent2>
      <a:accent3>
        <a:srgbClr val="E24A3F"/>
      </a:accent3>
      <a:accent4>
        <a:srgbClr val="FA7650"/>
      </a:accent4>
      <a:accent5>
        <a:srgbClr val="F8A623"/>
      </a:accent5>
      <a:accent6>
        <a:srgbClr val="FED141"/>
      </a:accent6>
      <a:hlink>
        <a:srgbClr val="00A1DF"/>
      </a:hlink>
      <a:folHlink>
        <a:srgbClr val="005CB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AVI_PPT_Full template" id="{99C43E16-FF9C-1849-AF03-F58742B6D3E6}" vid="{2567E646-D828-574A-82B0-C553FAD81028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10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11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12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13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14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15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16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17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18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19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2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20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21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22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23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24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25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26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27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28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29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3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30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31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32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33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34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35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36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37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38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39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4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40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41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42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43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44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45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46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47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48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49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5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50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51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52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53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54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55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56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6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7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8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ppt/theme/themeOverride9.xml><?xml version="1.0" encoding="utf-8"?>
<a:themeOverride xmlns:a="http://schemas.openxmlformats.org/drawingml/2006/main">
  <a:clrScheme name="Custom 3">
    <a:dk1>
      <a:srgbClr val="000000"/>
    </a:dk1>
    <a:lt1>
      <a:srgbClr val="FFFFFF"/>
    </a:lt1>
    <a:dk2>
      <a:srgbClr val="FFFFFF"/>
    </a:dk2>
    <a:lt2>
      <a:srgbClr val="FFFFFF"/>
    </a:lt2>
    <a:accent1>
      <a:srgbClr val="082F3B"/>
    </a:accent1>
    <a:accent2>
      <a:srgbClr val="1B9EC7"/>
    </a:accent2>
    <a:accent3>
      <a:srgbClr val="E91F50"/>
    </a:accent3>
    <a:accent4>
      <a:srgbClr val="E6D2C8"/>
    </a:accent4>
    <a:accent5>
      <a:srgbClr val="AFAFAF"/>
    </a:accent5>
    <a:accent6>
      <a:srgbClr val="D5D5D5"/>
    </a:accent6>
    <a:hlink>
      <a:srgbClr val="0000FF"/>
    </a:hlink>
    <a:folHlink>
      <a:srgbClr val="80008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F276A53DA1E0E4CAB931E3B0A33C427" ma:contentTypeVersion="18" ma:contentTypeDescription="Create a new document." ma:contentTypeScope="" ma:versionID="0b751cc8eff68f5eaf367bda2da16848">
  <xsd:schema xmlns:xsd="http://www.w3.org/2001/XMLSchema" xmlns:xs="http://www.w3.org/2001/XMLSchema" xmlns:p="http://schemas.microsoft.com/office/2006/metadata/properties" xmlns:ns3="bcdece41-dc2a-4872-9576-d5af0f562919" xmlns:ns4="9fa81396-c30f-41fe-a9dc-a3d51ff84479" targetNamespace="http://schemas.microsoft.com/office/2006/metadata/properties" ma:root="true" ma:fieldsID="640ae21875a9ce01a00983fdd0880032" ns3:_="" ns4:_="">
    <xsd:import namespace="bcdece41-dc2a-4872-9576-d5af0f562919"/>
    <xsd:import namespace="9fa81396-c30f-41fe-a9dc-a3d51ff8447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  <xsd:element ref="ns3:MediaLengthInSeconds" minOccurs="0"/>
                <xsd:element ref="ns3:_activity" minOccurs="0"/>
                <xsd:element ref="ns3:MediaServiceObjectDetectorVersions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cdece41-dc2a-4872-9576-d5af0f56291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  <xsd:element name="_activity" ma:index="22" nillable="true" ma:displayName="_activity" ma:hidden="true" ma:internalName="_activity">
      <xsd:simpleType>
        <xsd:restriction base="dms:Note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fa81396-c30f-41fe-a9dc-a3d51ff84479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20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bcdece41-dc2a-4872-9576-d5af0f562919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CB3B55E-8335-4638-BCDB-7925ABF22B7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cdece41-dc2a-4872-9576-d5af0f562919"/>
    <ds:schemaRef ds:uri="9fa81396-c30f-41fe-a9dc-a3d51ff8447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DB417BA-B70D-4064-B126-526D374E90C8}">
  <ds:schemaRefs>
    <ds:schemaRef ds:uri="http://purl.org/dc/elements/1.1/"/>
    <ds:schemaRef ds:uri="http://schemas.microsoft.com/office/2006/documentManagement/types"/>
    <ds:schemaRef ds:uri="http://www.w3.org/XML/1998/namespace"/>
    <ds:schemaRef ds:uri="http://purl.org/dc/terms/"/>
    <ds:schemaRef ds:uri="bcdece41-dc2a-4872-9576-d5af0f562919"/>
    <ds:schemaRef ds:uri="9fa81396-c30f-41fe-a9dc-a3d51ff84479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38C2AF94-1ADD-4497-B811-40779A42135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AVI_PPT_Full template</Template>
  <TotalTime>15074</TotalTime>
  <Words>2394</Words>
  <Application>Microsoft Office PowerPoint</Application>
  <PresentationFormat>Widescreen</PresentationFormat>
  <Paragraphs>260</Paragraphs>
  <Slides>20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3" baseType="lpstr">
      <vt:lpstr>Aptos</vt:lpstr>
      <vt:lpstr>Arial</vt:lpstr>
      <vt:lpstr>Calibri</vt:lpstr>
      <vt:lpstr>Segoe UI</vt:lpstr>
      <vt:lpstr>Symbol</vt:lpstr>
      <vt:lpstr>Trebuchet MS</vt:lpstr>
      <vt:lpstr>Wingdings</vt:lpstr>
      <vt:lpstr>Gavi – Titles, Sections, End Slides</vt:lpstr>
      <vt:lpstr>Gavi – Body Slides</vt:lpstr>
      <vt:lpstr>Covax Grid 16:9 - 15334</vt:lpstr>
      <vt:lpstr>1_Gavi – Body Slides</vt:lpstr>
      <vt:lpstr>2_Gavi – Body Slides</vt:lpstr>
      <vt:lpstr>think-cell Slide</vt:lpstr>
      <vt:lpstr>Restituição da Avaliação Conjunta da Gavi à CCIA</vt:lpstr>
      <vt:lpstr>Contexto da visita</vt:lpstr>
      <vt:lpstr>Objetivos da avaliação conjunta e workshop inicial de planejamento de portfólio completo</vt:lpstr>
      <vt:lpstr>Ampla participação das partes interessadas do sistema de saúde</vt:lpstr>
      <vt:lpstr>Uma visita ao Centro Materno-Infantil (CMI) proporcionou uma melhor compreensão dos desafios no terreno</vt:lpstr>
      <vt:lpstr>Desde 2000, a vacinação salvou cerca de 70.000 vidas na Guiné-Bissau</vt:lpstr>
      <vt:lpstr>A cobertura vacinal se recuperou após a Covid-19, mas há uma grande lacuna entre os dados administrativos e as pesquisas</vt:lpstr>
      <vt:lpstr>O PAV atinge 95% das crianças mas a taxa de abandono continua elevada</vt:lpstr>
      <vt:lpstr>Um ano movimentado pela frente, exigindo um bom planeamento, priorização e exploração de sinergias</vt:lpstr>
      <vt:lpstr>Mais de US$ 2 milhões utilizados em 2024, mas absorção deve pelo menos dobrar em 2025</vt:lpstr>
      <vt:lpstr>Assistência técnica geralmente no caminho certo, sendo necessários alguns ajustes</vt:lpstr>
      <vt:lpstr>Principais pontos de ação após a avaliação conjunta</vt:lpstr>
      <vt:lpstr>Objetivos completos do processo de planeamento de portfólio para 2026-2030 na Guiné-Bissau</vt:lpstr>
      <vt:lpstr>Oportunidade de impacto total para 2025-2030 para atingir 90% de cobertura até 2030</vt:lpstr>
      <vt:lpstr>Metas e objetivos da Gavi para 2026-2030 serão considerados pelo FPP da Guiné-Bissau</vt:lpstr>
      <vt:lpstr>Consolidação do Gavi em Gavi 6.0</vt:lpstr>
      <vt:lpstr>Implementação do programa piloto de abordagem central à Estratégia Nacional de Vacinação</vt:lpstr>
      <vt:lpstr>Ligação entre as áreas prioritárias de investimento ENV e Gavi</vt:lpstr>
      <vt:lpstr>Cronograma de alto nível para candidatura à Gavi e implementação do portfólio completo</vt:lpstr>
      <vt:lpstr>MUITO OBRIGADO</vt:lpstr>
    </vt:vector>
  </TitlesOfParts>
  <Company>GAV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jibouti</dc:title>
  <dc:creator>Edna Harimenshi</dc:creator>
  <cp:lastModifiedBy>Marius Keller</cp:lastModifiedBy>
  <cp:revision>36</cp:revision>
  <dcterms:created xsi:type="dcterms:W3CDTF">2022-11-09T13:30:25Z</dcterms:created>
  <dcterms:modified xsi:type="dcterms:W3CDTF">2025-01-24T11:00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a957285-7815-485a-9751-5b273b784ad5_Enabled">
    <vt:lpwstr>true</vt:lpwstr>
  </property>
  <property fmtid="{D5CDD505-2E9C-101B-9397-08002B2CF9AE}" pid="3" name="MSIP_Label_0a957285-7815-485a-9751-5b273b784ad5_SetDate">
    <vt:lpwstr>2022-02-17T16:13:58Z</vt:lpwstr>
  </property>
  <property fmtid="{D5CDD505-2E9C-101B-9397-08002B2CF9AE}" pid="4" name="MSIP_Label_0a957285-7815-485a-9751-5b273b784ad5_Method">
    <vt:lpwstr>Privileged</vt:lpwstr>
  </property>
  <property fmtid="{D5CDD505-2E9C-101B-9397-08002B2CF9AE}" pid="5" name="MSIP_Label_0a957285-7815-485a-9751-5b273b784ad5_Name">
    <vt:lpwstr>0a957285-7815-485a-9751-5b273b784ad5</vt:lpwstr>
  </property>
  <property fmtid="{D5CDD505-2E9C-101B-9397-08002B2CF9AE}" pid="6" name="MSIP_Label_0a957285-7815-485a-9751-5b273b784ad5_SiteId">
    <vt:lpwstr>1de6d9f3-0daf-4df6-b9d6-5959f16f6118</vt:lpwstr>
  </property>
  <property fmtid="{D5CDD505-2E9C-101B-9397-08002B2CF9AE}" pid="7" name="MSIP_Label_0a957285-7815-485a-9751-5b273b784ad5_ActionId">
    <vt:lpwstr>149189a2-f678-4e5f-b622-22e4b9a92e12</vt:lpwstr>
  </property>
  <property fmtid="{D5CDD505-2E9C-101B-9397-08002B2CF9AE}" pid="8" name="MSIP_Label_0a957285-7815-485a-9751-5b273b784ad5_ContentBits">
    <vt:lpwstr>0</vt:lpwstr>
  </property>
  <property fmtid="{D5CDD505-2E9C-101B-9397-08002B2CF9AE}" pid="9" name="MediaServiceImageTags">
    <vt:lpwstr/>
  </property>
  <property fmtid="{D5CDD505-2E9C-101B-9397-08002B2CF9AE}" pid="10" name="Document Type">
    <vt:lpwstr/>
  </property>
  <property fmtid="{D5CDD505-2E9C-101B-9397-08002B2CF9AE}" pid="11" name="kfa83adfad8641678ddaedda80d7e126">
    <vt:lpwstr/>
  </property>
  <property fmtid="{D5CDD505-2E9C-101B-9397-08002B2CF9AE}" pid="12" name="Test">
    <vt:lpwstr/>
  </property>
  <property fmtid="{D5CDD505-2E9C-101B-9397-08002B2CF9AE}" pid="13" name="ContentTypeId">
    <vt:lpwstr>0x0101006F276A53DA1E0E4CAB931E3B0A33C427</vt:lpwstr>
  </property>
  <property fmtid="{D5CDD505-2E9C-101B-9397-08002B2CF9AE}" pid="14" name="_dlc_DocIdItemGuid">
    <vt:lpwstr>2ed98cf6-61f0-460c-a59b-29139cea2175</vt:lpwstr>
  </property>
</Properties>
</file>